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14737587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4A1317-7E76-6512-E6C5-51A03BEF3C5D}" name="Alyssa LaRenzie Myers" initials="ALM" userId="S::AMyers@delta.org::750baa0a-ed5b-4baf-ad1b-94502be474a4" providerId="AD"/>
  <p188:author id="{13D0023F-DB7E-337C-5A18-D57FBEF4F5F6}" name="Norina DIorio" initials="ND" userId="S::ndiorio@delta.org::a854686f-a7ba-4a84-ad35-78fc5998fdd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E9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B5F690-C59E-8770-5B0A-AB4D27E31440}" v="12" dt="2025-09-02T20:06:20.0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78817" autoAdjust="0"/>
  </p:normalViewPr>
  <p:slideViewPr>
    <p:cSldViewPr snapToGrid="0">
      <p:cViewPr>
        <p:scale>
          <a:sx n="400" d="100"/>
          <a:sy n="400" d="100"/>
        </p:scale>
        <p:origin x="-9904" y="-44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n Rezler" userId="3fd14153-e855-4b9c-8e23-14310acaf61b" providerId="ADAL" clId="{3C7D460D-0FD7-4A3C-9AA0-A8389B41E718}"/>
    <pc:docChg chg="undo custSel addSld delSld modSld">
      <pc:chgData name="Evan Rezler" userId="3fd14153-e855-4b9c-8e23-14310acaf61b" providerId="ADAL" clId="{3C7D460D-0FD7-4A3C-9AA0-A8389B41E718}" dt="2025-03-06T17:33:11.637" v="281" actId="20577"/>
      <pc:docMkLst>
        <pc:docMk/>
      </pc:docMkLst>
      <pc:sldChg chg="addSp modSp add del mod modNotesTx">
        <pc:chgData name="Evan Rezler" userId="3fd14153-e855-4b9c-8e23-14310acaf61b" providerId="ADAL" clId="{3C7D460D-0FD7-4A3C-9AA0-A8389B41E718}" dt="2025-03-06T17:32:58.275" v="279" actId="47"/>
        <pc:sldMkLst>
          <pc:docMk/>
          <pc:sldMk cId="2560914343" sldId="279"/>
        </pc:sldMkLst>
      </pc:sldChg>
      <pc:sldChg chg="add del modNotesTx">
        <pc:chgData name="Evan Rezler" userId="3fd14153-e855-4b9c-8e23-14310acaf61b" providerId="ADAL" clId="{3C7D460D-0FD7-4A3C-9AA0-A8389B41E718}" dt="2025-03-06T17:33:11.637" v="281" actId="20577"/>
        <pc:sldMkLst>
          <pc:docMk/>
          <pc:sldMk cId="680962642" sldId="2147375879"/>
        </pc:sldMkLst>
      </pc:sldChg>
    </pc:docChg>
  </pc:docChgLst>
  <pc:docChgLst>
    <pc:chgData name="Melody Baker" userId="S::mbaker4@delta.org::b4869978-8787-4f34-9d0d-629ef628c9b7" providerId="AD" clId="Web-{A2B5F690-C59E-8770-5B0A-AB4D27E31440}"/>
    <pc:docChg chg="modSld">
      <pc:chgData name="Melody Baker" userId="S::mbaker4@delta.org::b4869978-8787-4f34-9d0d-629ef628c9b7" providerId="AD" clId="Web-{A2B5F690-C59E-8770-5B0A-AB4D27E31440}" dt="2025-09-02T20:06:20.002" v="5" actId="20577"/>
      <pc:docMkLst>
        <pc:docMk/>
      </pc:docMkLst>
      <pc:sldChg chg="modSp">
        <pc:chgData name="Melody Baker" userId="S::mbaker4@delta.org::b4869978-8787-4f34-9d0d-629ef628c9b7" providerId="AD" clId="Web-{A2B5F690-C59E-8770-5B0A-AB4D27E31440}" dt="2025-09-02T20:06:20.002" v="5" actId="20577"/>
        <pc:sldMkLst>
          <pc:docMk/>
          <pc:sldMk cId="680962642" sldId="2147375879"/>
        </pc:sldMkLst>
        <pc:spChg chg="mod">
          <ac:chgData name="Melody Baker" userId="S::mbaker4@delta.org::b4869978-8787-4f34-9d0d-629ef628c9b7" providerId="AD" clId="Web-{A2B5F690-C59E-8770-5B0A-AB4D27E31440}" dt="2025-09-02T20:06:20.002" v="5" actId="20577"/>
          <ac:spMkLst>
            <pc:docMk/>
            <pc:sldMk cId="680962642" sldId="2147375879"/>
            <ac:spMk id="2" creationId="{5493C5DD-CE50-91EB-FAF1-377C28642AB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B97BBF-6DB0-4D8B-8C95-21EA05E789A6}" type="datetimeFigureOut">
              <a:rPr lang="en-US" smtClean="0"/>
              <a:t>9/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2DC3C0-26B5-45A1-85DD-139AF35780E0}" type="slidenum">
              <a:rPr lang="en-US" smtClean="0"/>
              <a:t>‹#›</a:t>
            </a:fld>
            <a:endParaRPr lang="en-US"/>
          </a:p>
        </p:txBody>
      </p:sp>
    </p:spTree>
    <p:extLst>
      <p:ext uri="{BB962C8B-B14F-4D97-AF65-F5344CB8AC3E}">
        <p14:creationId xmlns:p14="http://schemas.microsoft.com/office/powerpoint/2010/main" val="3181674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Calibri" panose="020F0502020204030204" pitchFamily="34" charset="0"/>
              </a:rPr>
              <a:t>PT24; 13490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172DC3C0-26B5-45A1-85DD-139AF35780E0}" type="slidenum">
              <a:rPr lang="en-US" smtClean="0"/>
              <a:t>1</a:t>
            </a:fld>
            <a:endParaRPr lang="en-US"/>
          </a:p>
        </p:txBody>
      </p:sp>
    </p:spTree>
    <p:extLst>
      <p:ext uri="{BB962C8B-B14F-4D97-AF65-F5344CB8AC3E}">
        <p14:creationId xmlns:p14="http://schemas.microsoft.com/office/powerpoint/2010/main" val="28886559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7" Type="http://schemas.openxmlformats.org/officeDocument/2006/relationships/image" Target="../media/image7.emf"/><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emf"/><Relationship Id="rId1" Type="http://schemas.openxmlformats.org/officeDocument/2006/relationships/slideMaster" Target="../slideMasters/slideMaster1.xml"/><Relationship Id="rId5" Type="http://schemas.openxmlformats.org/officeDocument/2006/relationships/image" Target="../media/image16.emf"/><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2.emf"/><Relationship Id="rId2" Type="http://schemas.openxmlformats.org/officeDocument/2006/relationships/image" Target="../media/image18.emf"/><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10.png"/><Relationship Id="rId4" Type="http://schemas.openxmlformats.org/officeDocument/2006/relationships/image" Target="../media/image20.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4.emf"/><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6.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24.emf"/><Relationship Id="rId5" Type="http://schemas.openxmlformats.org/officeDocument/2006/relationships/image" Target="../media/image10.png"/><Relationship Id="rId4" Type="http://schemas.openxmlformats.org/officeDocument/2006/relationships/image" Target="../media/image23.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1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25.emf"/><Relationship Id="rId4" Type="http://schemas.openxmlformats.org/officeDocument/2006/relationships/image" Target="../media/image2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7.emf"/><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6.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6.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image" Target="../media/image15.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6.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image" Target="../media/image15.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0.png"/><Relationship Id="rId4" Type="http://schemas.openxmlformats.org/officeDocument/2006/relationships/image" Target="../media/image25.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4.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2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31.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30.png"/><Relationship Id="rId4" Type="http://schemas.openxmlformats.org/officeDocument/2006/relationships/image" Target="../media/image16.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22.emf"/><Relationship Id="rId4" Type="http://schemas.openxmlformats.org/officeDocument/2006/relationships/image" Target="../media/image20.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6.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6.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0.png"/><Relationship Id="rId4" Type="http://schemas.openxmlformats.org/officeDocument/2006/relationships/image" Target="../media/image25.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28.png"/><Relationship Id="rId4" Type="http://schemas.openxmlformats.org/officeDocument/2006/relationships/image" Target="../media/image16.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0.png"/><Relationship Id="rId4" Type="http://schemas.openxmlformats.org/officeDocument/2006/relationships/image" Target="../media/image16.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6.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3.emf"/><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34.png"/><Relationship Id="rId4" Type="http://schemas.openxmlformats.org/officeDocument/2006/relationships/image" Target="../media/image23.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5.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32D838-3CF3-C947-AB7B-01DC779F4330}"/>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8" name="Picture 7" descr="A close up of a logo&#10;&#10;Description automatically generated">
            <a:extLst>
              <a:ext uri="{FF2B5EF4-FFF2-40B4-BE49-F238E27FC236}">
                <a16:creationId xmlns:a16="http://schemas.microsoft.com/office/drawing/2014/main" id="{2E96C40A-7842-204E-AAB2-91F29D880E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92012" y="328925"/>
            <a:ext cx="2044194" cy="228022"/>
          </a:xfrm>
          <a:prstGeom prst="rect">
            <a:avLst/>
          </a:prstGeom>
        </p:spPr>
      </p:pic>
      <p:sp>
        <p:nvSpPr>
          <p:cNvPr id="9" name="Title 1">
            <a:extLst>
              <a:ext uri="{FF2B5EF4-FFF2-40B4-BE49-F238E27FC236}">
                <a16:creationId xmlns:a16="http://schemas.microsoft.com/office/drawing/2014/main" id="{7A18D690-CB11-8B4D-97DA-ED3AEFCF3167}"/>
              </a:ext>
            </a:extLst>
          </p:cNvPr>
          <p:cNvSpPr>
            <a:spLocks noGrp="1"/>
          </p:cNvSpPr>
          <p:nvPr>
            <p:ph type="ctrTitle" hasCustomPrompt="1"/>
          </p:nvPr>
        </p:nvSpPr>
        <p:spPr>
          <a:xfrm>
            <a:off x="6929658" y="5009663"/>
            <a:ext cx="4906548" cy="685800"/>
          </a:xfrm>
          <a:prstGeom prst="rect">
            <a:avLst/>
          </a:prstGeom>
        </p:spPr>
        <p:txBody>
          <a:bodyPr lIns="0" tIns="0" rIns="0" bIns="0" anchor="t" anchorCtr="0"/>
          <a:lstStyle>
            <a:lvl1pPr algn="l">
              <a:defRPr sz="5500">
                <a:solidFill>
                  <a:schemeClr val="bg1"/>
                </a:solidFill>
              </a:defRPr>
            </a:lvl1pPr>
          </a:lstStyle>
          <a:p>
            <a:r>
              <a:rPr lang="en-US" dirty="0"/>
              <a:t>Click to edit title</a:t>
            </a:r>
          </a:p>
        </p:txBody>
      </p:sp>
      <p:sp>
        <p:nvSpPr>
          <p:cNvPr id="10" name="Subtitle 2">
            <a:extLst>
              <a:ext uri="{FF2B5EF4-FFF2-40B4-BE49-F238E27FC236}">
                <a16:creationId xmlns:a16="http://schemas.microsoft.com/office/drawing/2014/main" id="{C93BB062-C27B-AD4D-BECB-4B57A0A95ED4}"/>
              </a:ext>
            </a:extLst>
          </p:cNvPr>
          <p:cNvSpPr>
            <a:spLocks noGrp="1"/>
          </p:cNvSpPr>
          <p:nvPr>
            <p:ph type="subTitle" idx="1" hasCustomPrompt="1"/>
          </p:nvPr>
        </p:nvSpPr>
        <p:spPr>
          <a:xfrm>
            <a:off x="6929658" y="5765729"/>
            <a:ext cx="4906548" cy="365760"/>
          </a:xfrm>
          <a:prstGeom prst="rect">
            <a:avLst/>
          </a:prstGeom>
        </p:spPr>
        <p:txBody>
          <a:bodyPr vert="horz" lIns="0" rIns="0" bIns="0" anchor="t" anchorCtr="0">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23" name="Picture Placeholder 22">
            <a:extLst>
              <a:ext uri="{FF2B5EF4-FFF2-40B4-BE49-F238E27FC236}">
                <a16:creationId xmlns:a16="http://schemas.microsoft.com/office/drawing/2014/main" id="{E81FE603-3787-BF4D-A0CB-AA4B9DF91F0D}"/>
              </a:ext>
            </a:extLst>
          </p:cNvPr>
          <p:cNvSpPr>
            <a:spLocks noGrp="1"/>
          </p:cNvSpPr>
          <p:nvPr>
            <p:ph type="pic" sz="quarter" idx="12"/>
          </p:nvPr>
        </p:nvSpPr>
        <p:spPr>
          <a:xfrm>
            <a:off x="-21021" y="-31531"/>
            <a:ext cx="6986079" cy="7439844"/>
          </a:xfrm>
          <a:custGeom>
            <a:avLst/>
            <a:gdLst>
              <a:gd name="connsiteX0" fmla="*/ 0 w 7134225"/>
              <a:gd name="connsiteY0" fmla="*/ 0 h 7134225"/>
              <a:gd name="connsiteX1" fmla="*/ 7134225 w 7134225"/>
              <a:gd name="connsiteY1" fmla="*/ 0 h 7134225"/>
              <a:gd name="connsiteX2" fmla="*/ 7134225 w 7134225"/>
              <a:gd name="connsiteY2" fmla="*/ 7134225 h 7134225"/>
              <a:gd name="connsiteX3" fmla="*/ 0 w 7134225"/>
              <a:gd name="connsiteY3" fmla="*/ 7134225 h 7134225"/>
              <a:gd name="connsiteX4" fmla="*/ 0 w 7134225"/>
              <a:gd name="connsiteY4" fmla="*/ 0 h 7134225"/>
              <a:gd name="connsiteX0" fmla="*/ 0 w 7134225"/>
              <a:gd name="connsiteY0" fmla="*/ 0 h 7134225"/>
              <a:gd name="connsiteX1" fmla="*/ 7134225 w 7134225"/>
              <a:gd name="connsiteY1" fmla="*/ 0 h 7134225"/>
              <a:gd name="connsiteX2" fmla="*/ 5928880 w 7134225"/>
              <a:gd name="connsiteY2" fmla="*/ 5208443 h 7134225"/>
              <a:gd name="connsiteX3" fmla="*/ 0 w 7134225"/>
              <a:gd name="connsiteY3" fmla="*/ 7134225 h 7134225"/>
              <a:gd name="connsiteX4" fmla="*/ 0 w 7134225"/>
              <a:gd name="connsiteY4" fmla="*/ 0 h 7134225"/>
              <a:gd name="connsiteX0" fmla="*/ 0 w 7134225"/>
              <a:gd name="connsiteY0" fmla="*/ 0 h 7134225"/>
              <a:gd name="connsiteX1" fmla="*/ 7134225 w 7134225"/>
              <a:gd name="connsiteY1" fmla="*/ 0 h 7134225"/>
              <a:gd name="connsiteX2" fmla="*/ 5928880 w 7134225"/>
              <a:gd name="connsiteY2" fmla="*/ 5208443 h 7134225"/>
              <a:gd name="connsiteX3" fmla="*/ 0 w 7134225"/>
              <a:gd name="connsiteY3" fmla="*/ 7134225 h 7134225"/>
              <a:gd name="connsiteX4" fmla="*/ 0 w 7134225"/>
              <a:gd name="connsiteY4" fmla="*/ 0 h 7134225"/>
              <a:gd name="connsiteX0" fmla="*/ 13854 w 7148079"/>
              <a:gd name="connsiteY0" fmla="*/ 0 h 6857134"/>
              <a:gd name="connsiteX1" fmla="*/ 7148079 w 7148079"/>
              <a:gd name="connsiteY1" fmla="*/ 0 h 6857134"/>
              <a:gd name="connsiteX2" fmla="*/ 5942734 w 7148079"/>
              <a:gd name="connsiteY2" fmla="*/ 5208443 h 6857134"/>
              <a:gd name="connsiteX3" fmla="*/ 0 w 7148079"/>
              <a:gd name="connsiteY3" fmla="*/ 6857134 h 6857134"/>
              <a:gd name="connsiteX4" fmla="*/ 13854 w 7148079"/>
              <a:gd name="connsiteY4" fmla="*/ 0 h 6857134"/>
              <a:gd name="connsiteX0" fmla="*/ 13854 w 7148079"/>
              <a:gd name="connsiteY0" fmla="*/ 0 h 7189280"/>
              <a:gd name="connsiteX1" fmla="*/ 7148079 w 7148079"/>
              <a:gd name="connsiteY1" fmla="*/ 0 h 7189280"/>
              <a:gd name="connsiteX2" fmla="*/ 5942734 w 7148079"/>
              <a:gd name="connsiteY2" fmla="*/ 5208443 h 7189280"/>
              <a:gd name="connsiteX3" fmla="*/ 0 w 7148079"/>
              <a:gd name="connsiteY3" fmla="*/ 6857134 h 7189280"/>
              <a:gd name="connsiteX4" fmla="*/ 13854 w 7148079"/>
              <a:gd name="connsiteY4" fmla="*/ 0 h 7189280"/>
              <a:gd name="connsiteX0" fmla="*/ 13854 w 7148079"/>
              <a:gd name="connsiteY0" fmla="*/ 0 h 7189280"/>
              <a:gd name="connsiteX1" fmla="*/ 7148079 w 7148079"/>
              <a:gd name="connsiteY1" fmla="*/ 0 h 7189280"/>
              <a:gd name="connsiteX2" fmla="*/ 5942734 w 7148079"/>
              <a:gd name="connsiteY2" fmla="*/ 5208443 h 7189280"/>
              <a:gd name="connsiteX3" fmla="*/ 0 w 7148079"/>
              <a:gd name="connsiteY3" fmla="*/ 6857134 h 7189280"/>
              <a:gd name="connsiteX4" fmla="*/ 13854 w 7148079"/>
              <a:gd name="connsiteY4" fmla="*/ 0 h 7189280"/>
              <a:gd name="connsiteX0" fmla="*/ 13854 w 6912552"/>
              <a:gd name="connsiteY0" fmla="*/ 0 h 7189280"/>
              <a:gd name="connsiteX1" fmla="*/ 6912552 w 6912552"/>
              <a:gd name="connsiteY1" fmla="*/ 0 h 7189280"/>
              <a:gd name="connsiteX2" fmla="*/ 5942734 w 6912552"/>
              <a:gd name="connsiteY2" fmla="*/ 5208443 h 7189280"/>
              <a:gd name="connsiteX3" fmla="*/ 0 w 6912552"/>
              <a:gd name="connsiteY3" fmla="*/ 6857134 h 7189280"/>
              <a:gd name="connsiteX4" fmla="*/ 13854 w 6912552"/>
              <a:gd name="connsiteY4" fmla="*/ 0 h 7189280"/>
              <a:gd name="connsiteX0" fmla="*/ 13854 w 7022723"/>
              <a:gd name="connsiteY0" fmla="*/ 0 h 7189280"/>
              <a:gd name="connsiteX1" fmla="*/ 6912552 w 7022723"/>
              <a:gd name="connsiteY1" fmla="*/ 0 h 7189280"/>
              <a:gd name="connsiteX2" fmla="*/ 5942734 w 7022723"/>
              <a:gd name="connsiteY2" fmla="*/ 5208443 h 7189280"/>
              <a:gd name="connsiteX3" fmla="*/ 0 w 7022723"/>
              <a:gd name="connsiteY3" fmla="*/ 6857134 h 7189280"/>
              <a:gd name="connsiteX4" fmla="*/ 13854 w 7022723"/>
              <a:gd name="connsiteY4" fmla="*/ 0 h 7189280"/>
              <a:gd name="connsiteX0" fmla="*/ 13854 w 7080718"/>
              <a:gd name="connsiteY0" fmla="*/ 0 h 7189280"/>
              <a:gd name="connsiteX1" fmla="*/ 6912552 w 7080718"/>
              <a:gd name="connsiteY1" fmla="*/ 0 h 7189280"/>
              <a:gd name="connsiteX2" fmla="*/ 5942734 w 7080718"/>
              <a:gd name="connsiteY2" fmla="*/ 5208443 h 7189280"/>
              <a:gd name="connsiteX3" fmla="*/ 0 w 7080718"/>
              <a:gd name="connsiteY3" fmla="*/ 6857134 h 7189280"/>
              <a:gd name="connsiteX4" fmla="*/ 13854 w 7080718"/>
              <a:gd name="connsiteY4" fmla="*/ 0 h 7189280"/>
              <a:gd name="connsiteX0" fmla="*/ 13854 w 7027016"/>
              <a:gd name="connsiteY0" fmla="*/ 0 h 7189280"/>
              <a:gd name="connsiteX1" fmla="*/ 6912552 w 7027016"/>
              <a:gd name="connsiteY1" fmla="*/ 0 h 7189280"/>
              <a:gd name="connsiteX2" fmla="*/ 5942734 w 7027016"/>
              <a:gd name="connsiteY2" fmla="*/ 5208443 h 7189280"/>
              <a:gd name="connsiteX3" fmla="*/ 0 w 7027016"/>
              <a:gd name="connsiteY3" fmla="*/ 6857134 h 7189280"/>
              <a:gd name="connsiteX4" fmla="*/ 13854 w 7027016"/>
              <a:gd name="connsiteY4" fmla="*/ 0 h 7189280"/>
              <a:gd name="connsiteX0" fmla="*/ 13854 w 7059043"/>
              <a:gd name="connsiteY0" fmla="*/ 0 h 7091978"/>
              <a:gd name="connsiteX1" fmla="*/ 6912552 w 7059043"/>
              <a:gd name="connsiteY1" fmla="*/ 0 h 7091978"/>
              <a:gd name="connsiteX2" fmla="*/ 6237023 w 7059043"/>
              <a:gd name="connsiteY2" fmla="*/ 4714456 h 7091978"/>
              <a:gd name="connsiteX3" fmla="*/ 0 w 7059043"/>
              <a:gd name="connsiteY3" fmla="*/ 6857134 h 7091978"/>
              <a:gd name="connsiteX4" fmla="*/ 13854 w 7059043"/>
              <a:gd name="connsiteY4" fmla="*/ 0 h 7091978"/>
              <a:gd name="connsiteX0" fmla="*/ 13854 w 7092970"/>
              <a:gd name="connsiteY0" fmla="*/ 0 h 7028396"/>
              <a:gd name="connsiteX1" fmla="*/ 6912552 w 7092970"/>
              <a:gd name="connsiteY1" fmla="*/ 0 h 7028396"/>
              <a:gd name="connsiteX2" fmla="*/ 6237023 w 7092970"/>
              <a:gd name="connsiteY2" fmla="*/ 4714456 h 7028396"/>
              <a:gd name="connsiteX3" fmla="*/ 0 w 7092970"/>
              <a:gd name="connsiteY3" fmla="*/ 6857134 h 7028396"/>
              <a:gd name="connsiteX4" fmla="*/ 13854 w 7092970"/>
              <a:gd name="connsiteY4" fmla="*/ 0 h 7028396"/>
              <a:gd name="connsiteX0" fmla="*/ 13854 w 6975562"/>
              <a:gd name="connsiteY0" fmla="*/ 0 h 7709383"/>
              <a:gd name="connsiteX1" fmla="*/ 6912552 w 6975562"/>
              <a:gd name="connsiteY1" fmla="*/ 0 h 7709383"/>
              <a:gd name="connsiteX2" fmla="*/ 4649961 w 6975562"/>
              <a:gd name="connsiteY2" fmla="*/ 6848056 h 7709383"/>
              <a:gd name="connsiteX3" fmla="*/ 0 w 6975562"/>
              <a:gd name="connsiteY3" fmla="*/ 6857134 h 7709383"/>
              <a:gd name="connsiteX4" fmla="*/ 13854 w 6975562"/>
              <a:gd name="connsiteY4" fmla="*/ 0 h 7709383"/>
              <a:gd name="connsiteX0" fmla="*/ 13854 w 6964550"/>
              <a:gd name="connsiteY0" fmla="*/ 0 h 7170648"/>
              <a:gd name="connsiteX1" fmla="*/ 6912552 w 6964550"/>
              <a:gd name="connsiteY1" fmla="*/ 0 h 7170648"/>
              <a:gd name="connsiteX2" fmla="*/ 4649961 w 6964550"/>
              <a:gd name="connsiteY2" fmla="*/ 6848056 h 7170648"/>
              <a:gd name="connsiteX3" fmla="*/ 0 w 6964550"/>
              <a:gd name="connsiteY3" fmla="*/ 6857134 h 7170648"/>
              <a:gd name="connsiteX4" fmla="*/ 13854 w 6964550"/>
              <a:gd name="connsiteY4" fmla="*/ 0 h 7170648"/>
              <a:gd name="connsiteX0" fmla="*/ 13854 w 6963632"/>
              <a:gd name="connsiteY0" fmla="*/ 0 h 7157446"/>
              <a:gd name="connsiteX1" fmla="*/ 6912552 w 6963632"/>
              <a:gd name="connsiteY1" fmla="*/ 0 h 7157446"/>
              <a:gd name="connsiteX2" fmla="*/ 4649961 w 6963632"/>
              <a:gd name="connsiteY2" fmla="*/ 6848056 h 7157446"/>
              <a:gd name="connsiteX3" fmla="*/ 0 w 6963632"/>
              <a:gd name="connsiteY3" fmla="*/ 6857134 h 7157446"/>
              <a:gd name="connsiteX4" fmla="*/ 13854 w 6963632"/>
              <a:gd name="connsiteY4" fmla="*/ 0 h 7157446"/>
              <a:gd name="connsiteX0" fmla="*/ 13854 w 6965161"/>
              <a:gd name="connsiteY0" fmla="*/ 0 h 7132310"/>
              <a:gd name="connsiteX1" fmla="*/ 6912552 w 6965161"/>
              <a:gd name="connsiteY1" fmla="*/ 0 h 7132310"/>
              <a:gd name="connsiteX2" fmla="*/ 4734044 w 6965161"/>
              <a:gd name="connsiteY2" fmla="*/ 6753463 h 7132310"/>
              <a:gd name="connsiteX3" fmla="*/ 0 w 6965161"/>
              <a:gd name="connsiteY3" fmla="*/ 6857134 h 7132310"/>
              <a:gd name="connsiteX4" fmla="*/ 13854 w 6965161"/>
              <a:gd name="connsiteY4" fmla="*/ 0 h 7132310"/>
              <a:gd name="connsiteX0" fmla="*/ 13854 w 6996097"/>
              <a:gd name="connsiteY0" fmla="*/ 0 h 7531895"/>
              <a:gd name="connsiteX1" fmla="*/ 6912552 w 6996097"/>
              <a:gd name="connsiteY1" fmla="*/ 0 h 7531895"/>
              <a:gd name="connsiteX2" fmla="*/ 4734044 w 6996097"/>
              <a:gd name="connsiteY2" fmla="*/ 6753463 h 7531895"/>
              <a:gd name="connsiteX3" fmla="*/ 0 w 6996097"/>
              <a:gd name="connsiteY3" fmla="*/ 6857134 h 7531895"/>
              <a:gd name="connsiteX4" fmla="*/ 13854 w 6996097"/>
              <a:gd name="connsiteY4" fmla="*/ 0 h 7531895"/>
              <a:gd name="connsiteX0" fmla="*/ 13854 w 6995642"/>
              <a:gd name="connsiteY0" fmla="*/ 0 h 7497513"/>
              <a:gd name="connsiteX1" fmla="*/ 6912552 w 6995642"/>
              <a:gd name="connsiteY1" fmla="*/ 0 h 7497513"/>
              <a:gd name="connsiteX2" fmla="*/ 4734044 w 6995642"/>
              <a:gd name="connsiteY2" fmla="*/ 6753463 h 7497513"/>
              <a:gd name="connsiteX3" fmla="*/ 0 w 6995642"/>
              <a:gd name="connsiteY3" fmla="*/ 6857134 h 7497513"/>
              <a:gd name="connsiteX4" fmla="*/ 13854 w 6995642"/>
              <a:gd name="connsiteY4" fmla="*/ 0 h 7497513"/>
              <a:gd name="connsiteX0" fmla="*/ 13854 w 6987875"/>
              <a:gd name="connsiteY0" fmla="*/ 0 h 7605113"/>
              <a:gd name="connsiteX1" fmla="*/ 6912552 w 6987875"/>
              <a:gd name="connsiteY1" fmla="*/ 0 h 7605113"/>
              <a:gd name="connsiteX2" fmla="*/ 4544858 w 6987875"/>
              <a:gd name="connsiteY2" fmla="*/ 6932139 h 7605113"/>
              <a:gd name="connsiteX3" fmla="*/ 0 w 6987875"/>
              <a:gd name="connsiteY3" fmla="*/ 6857134 h 7605113"/>
              <a:gd name="connsiteX4" fmla="*/ 13854 w 6987875"/>
              <a:gd name="connsiteY4" fmla="*/ 0 h 7605113"/>
              <a:gd name="connsiteX0" fmla="*/ 13854 w 6993930"/>
              <a:gd name="connsiteY0" fmla="*/ 0 h 7600616"/>
              <a:gd name="connsiteX1" fmla="*/ 6912552 w 6993930"/>
              <a:gd name="connsiteY1" fmla="*/ 0 h 7600616"/>
              <a:gd name="connsiteX2" fmla="*/ 4544858 w 6993930"/>
              <a:gd name="connsiteY2" fmla="*/ 6932139 h 7600616"/>
              <a:gd name="connsiteX3" fmla="*/ 0 w 6993930"/>
              <a:gd name="connsiteY3" fmla="*/ 6857134 h 7600616"/>
              <a:gd name="connsiteX4" fmla="*/ 13854 w 6993930"/>
              <a:gd name="connsiteY4" fmla="*/ 0 h 7600616"/>
              <a:gd name="connsiteX0" fmla="*/ 13854 w 6999932"/>
              <a:gd name="connsiteY0" fmla="*/ 0 h 7754778"/>
              <a:gd name="connsiteX1" fmla="*/ 6912552 w 6999932"/>
              <a:gd name="connsiteY1" fmla="*/ 0 h 7754778"/>
              <a:gd name="connsiteX2" fmla="*/ 4544858 w 6999932"/>
              <a:gd name="connsiteY2" fmla="*/ 6932139 h 7754778"/>
              <a:gd name="connsiteX3" fmla="*/ 0 w 6999932"/>
              <a:gd name="connsiteY3" fmla="*/ 6857134 h 7754778"/>
              <a:gd name="connsiteX4" fmla="*/ 13854 w 6999932"/>
              <a:gd name="connsiteY4" fmla="*/ 0 h 7754778"/>
              <a:gd name="connsiteX0" fmla="*/ 13854 w 6986079"/>
              <a:gd name="connsiteY0" fmla="*/ 0 h 7630623"/>
              <a:gd name="connsiteX1" fmla="*/ 6912552 w 6986079"/>
              <a:gd name="connsiteY1" fmla="*/ 0 h 7630623"/>
              <a:gd name="connsiteX2" fmla="*/ 4544858 w 6986079"/>
              <a:gd name="connsiteY2" fmla="*/ 6932139 h 7630623"/>
              <a:gd name="connsiteX3" fmla="*/ 0 w 6986079"/>
              <a:gd name="connsiteY3" fmla="*/ 6962237 h 7630623"/>
              <a:gd name="connsiteX4" fmla="*/ 13854 w 6986079"/>
              <a:gd name="connsiteY4" fmla="*/ 0 h 7630623"/>
              <a:gd name="connsiteX0" fmla="*/ 13854 w 6986079"/>
              <a:gd name="connsiteY0" fmla="*/ 0 h 7439844"/>
              <a:gd name="connsiteX1" fmla="*/ 6912552 w 6986079"/>
              <a:gd name="connsiteY1" fmla="*/ 0 h 7439844"/>
              <a:gd name="connsiteX2" fmla="*/ 4544858 w 6986079"/>
              <a:gd name="connsiteY2" fmla="*/ 6932139 h 7439844"/>
              <a:gd name="connsiteX3" fmla="*/ 0 w 6986079"/>
              <a:gd name="connsiteY3" fmla="*/ 6962237 h 7439844"/>
              <a:gd name="connsiteX4" fmla="*/ 13854 w 6986079"/>
              <a:gd name="connsiteY4" fmla="*/ 0 h 7439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6079" h="7439844">
                <a:moveTo>
                  <a:pt x="13854" y="0"/>
                </a:moveTo>
                <a:lnTo>
                  <a:pt x="6912552" y="0"/>
                </a:lnTo>
                <a:cubicBezTo>
                  <a:pt x="7355898" y="3551094"/>
                  <a:pt x="5696950" y="5771766"/>
                  <a:pt x="4544858" y="6932139"/>
                </a:cubicBezTo>
                <a:cubicBezTo>
                  <a:pt x="3392766" y="8092512"/>
                  <a:pt x="4619167" y="6890734"/>
                  <a:pt x="0" y="6962237"/>
                </a:cubicBezTo>
                <a:lnTo>
                  <a:pt x="13854" y="0"/>
                </a:lnTo>
                <a:close/>
              </a:path>
            </a:pathLst>
          </a:custGeom>
          <a:solidFill>
            <a:schemeClr val="bg2">
              <a:lumMod val="75000"/>
            </a:schemeClr>
          </a:solidFill>
        </p:spPr>
        <p:txBody>
          <a:bodyPr/>
          <a:lstStyle/>
          <a:p>
            <a:endParaRPr lang="en-MX"/>
          </a:p>
        </p:txBody>
      </p:sp>
      <p:pic>
        <p:nvPicPr>
          <p:cNvPr id="27" name="Picture 26">
            <a:extLst>
              <a:ext uri="{FF2B5EF4-FFF2-40B4-BE49-F238E27FC236}">
                <a16:creationId xmlns:a16="http://schemas.microsoft.com/office/drawing/2014/main" id="{B19B2B3B-8157-464C-8C8B-052E3C3A4C55}"/>
              </a:ext>
            </a:extLst>
          </p:cNvPr>
          <p:cNvPicPr>
            <a:picLocks noChangeAspect="1"/>
          </p:cNvPicPr>
          <p:nvPr userDrawn="1"/>
        </p:nvPicPr>
        <p:blipFill>
          <a:blip r:embed="rId3"/>
          <a:stretch>
            <a:fillRect/>
          </a:stretch>
        </p:blipFill>
        <p:spPr>
          <a:xfrm>
            <a:off x="5469508" y="5913618"/>
            <a:ext cx="435741" cy="435741"/>
          </a:xfrm>
          <a:prstGeom prst="rect">
            <a:avLst/>
          </a:prstGeom>
        </p:spPr>
      </p:pic>
      <p:pic>
        <p:nvPicPr>
          <p:cNvPr id="28" name="Picture 27">
            <a:extLst>
              <a:ext uri="{FF2B5EF4-FFF2-40B4-BE49-F238E27FC236}">
                <a16:creationId xmlns:a16="http://schemas.microsoft.com/office/drawing/2014/main" id="{40F1955A-E7D3-AF44-8A8B-74FC663AFBD5}"/>
              </a:ext>
            </a:extLst>
          </p:cNvPr>
          <p:cNvPicPr>
            <a:picLocks noChangeAspect="1"/>
          </p:cNvPicPr>
          <p:nvPr userDrawn="1"/>
        </p:nvPicPr>
        <p:blipFill>
          <a:blip r:embed="rId4"/>
          <a:stretch>
            <a:fillRect/>
          </a:stretch>
        </p:blipFill>
        <p:spPr>
          <a:xfrm>
            <a:off x="7167836" y="783271"/>
            <a:ext cx="483695" cy="483695"/>
          </a:xfrm>
          <a:prstGeom prst="rect">
            <a:avLst/>
          </a:prstGeom>
        </p:spPr>
      </p:pic>
      <p:pic>
        <p:nvPicPr>
          <p:cNvPr id="29" name="Picture 28">
            <a:extLst>
              <a:ext uri="{FF2B5EF4-FFF2-40B4-BE49-F238E27FC236}">
                <a16:creationId xmlns:a16="http://schemas.microsoft.com/office/drawing/2014/main" id="{B41790EA-788E-6342-AAF7-A190F3BD9F2A}"/>
              </a:ext>
            </a:extLst>
          </p:cNvPr>
          <p:cNvPicPr>
            <a:picLocks noChangeAspect="1"/>
          </p:cNvPicPr>
          <p:nvPr userDrawn="1"/>
        </p:nvPicPr>
        <p:blipFill>
          <a:blip r:embed="rId5"/>
          <a:stretch>
            <a:fillRect/>
          </a:stretch>
        </p:blipFill>
        <p:spPr>
          <a:xfrm>
            <a:off x="7040836" y="1721337"/>
            <a:ext cx="254000" cy="254000"/>
          </a:xfrm>
          <a:prstGeom prst="rect">
            <a:avLst/>
          </a:prstGeom>
        </p:spPr>
      </p:pic>
      <p:pic>
        <p:nvPicPr>
          <p:cNvPr id="31" name="Picture 30">
            <a:extLst>
              <a:ext uri="{FF2B5EF4-FFF2-40B4-BE49-F238E27FC236}">
                <a16:creationId xmlns:a16="http://schemas.microsoft.com/office/drawing/2014/main" id="{FF8CB443-C235-C840-9381-99F38755ED2F}"/>
              </a:ext>
            </a:extLst>
          </p:cNvPr>
          <p:cNvPicPr>
            <a:picLocks noChangeAspect="1"/>
          </p:cNvPicPr>
          <p:nvPr userDrawn="1"/>
        </p:nvPicPr>
        <p:blipFill>
          <a:blip r:embed="rId6"/>
          <a:stretch>
            <a:fillRect/>
          </a:stretch>
        </p:blipFill>
        <p:spPr>
          <a:xfrm>
            <a:off x="6720108" y="3487124"/>
            <a:ext cx="419100" cy="419100"/>
          </a:xfrm>
          <a:prstGeom prst="rect">
            <a:avLst/>
          </a:prstGeom>
        </p:spPr>
      </p:pic>
      <p:pic>
        <p:nvPicPr>
          <p:cNvPr id="32" name="Picture 31">
            <a:extLst>
              <a:ext uri="{FF2B5EF4-FFF2-40B4-BE49-F238E27FC236}">
                <a16:creationId xmlns:a16="http://schemas.microsoft.com/office/drawing/2014/main" id="{D90FCB35-BD29-3E47-B460-E162FAA6C6C5}"/>
              </a:ext>
            </a:extLst>
          </p:cNvPr>
          <p:cNvPicPr>
            <a:picLocks noChangeAspect="1"/>
          </p:cNvPicPr>
          <p:nvPr userDrawn="1"/>
        </p:nvPicPr>
        <p:blipFill>
          <a:blip r:embed="rId7"/>
          <a:stretch>
            <a:fillRect/>
          </a:stretch>
        </p:blipFill>
        <p:spPr>
          <a:xfrm>
            <a:off x="5969000" y="5352563"/>
            <a:ext cx="254000" cy="254000"/>
          </a:xfrm>
          <a:prstGeom prst="rect">
            <a:avLst/>
          </a:prstGeom>
        </p:spPr>
      </p:pic>
    </p:spTree>
    <p:extLst>
      <p:ext uri="{BB962C8B-B14F-4D97-AF65-F5344CB8AC3E}">
        <p14:creationId xmlns:p14="http://schemas.microsoft.com/office/powerpoint/2010/main" val="1582256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side_Blank_Wave_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2"/>
          <a:stretch>
            <a:fillRect/>
          </a:stretch>
        </p:blipFill>
        <p:spPr>
          <a:xfrm>
            <a:off x="406400" y="6061945"/>
            <a:ext cx="360516" cy="360516"/>
          </a:xfrm>
          <a:prstGeom prst="rect">
            <a:avLst/>
          </a:prstGeom>
        </p:spPr>
      </p:pic>
      <p:pic>
        <p:nvPicPr>
          <p:cNvPr id="39" name="Picture 38">
            <a:extLst>
              <a:ext uri="{FF2B5EF4-FFF2-40B4-BE49-F238E27FC236}">
                <a16:creationId xmlns:a16="http://schemas.microsoft.com/office/drawing/2014/main" id="{3F81A573-04CD-1F43-8254-CBCCC1C461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89527" y="2543984"/>
            <a:ext cx="282537" cy="282537"/>
          </a:xfrm>
          <a:prstGeom prst="rect">
            <a:avLst/>
          </a:prstGeom>
        </p:spPr>
      </p:pic>
      <p:pic>
        <p:nvPicPr>
          <p:cNvPr id="40" name="Picture 39">
            <a:extLst>
              <a:ext uri="{FF2B5EF4-FFF2-40B4-BE49-F238E27FC236}">
                <a16:creationId xmlns:a16="http://schemas.microsoft.com/office/drawing/2014/main" id="{4FBA0D80-E554-5B4D-9E95-BA09169035F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7077" y="2352853"/>
            <a:ext cx="191131" cy="191131"/>
          </a:xfrm>
          <a:prstGeom prst="rect">
            <a:avLst/>
          </a:prstGeom>
        </p:spPr>
      </p:pic>
      <p:pic>
        <p:nvPicPr>
          <p:cNvPr id="8" name="Picture 7" descr="A picture containing text, clipart&#10;&#10;Description automatically generated">
            <a:extLst>
              <a:ext uri="{FF2B5EF4-FFF2-40B4-BE49-F238E27FC236}">
                <a16:creationId xmlns:a16="http://schemas.microsoft.com/office/drawing/2014/main" id="{4B4D839E-0978-A96F-C621-351C42255B6D}"/>
              </a:ext>
            </a:extLst>
          </p:cNvPr>
          <p:cNvPicPr>
            <a:picLocks noChangeAspect="1"/>
          </p:cNvPicPr>
          <p:nvPr userDrawn="1"/>
        </p:nvPicPr>
        <p:blipFill>
          <a:blip r:embed="rId4"/>
          <a:stretch>
            <a:fillRect/>
          </a:stretch>
        </p:blipFill>
        <p:spPr>
          <a:xfrm>
            <a:off x="10133703" y="6325250"/>
            <a:ext cx="1738361" cy="194422"/>
          </a:xfrm>
          <a:prstGeom prst="rect">
            <a:avLst/>
          </a:prstGeom>
        </p:spPr>
      </p:pic>
      <p:pic>
        <p:nvPicPr>
          <p:cNvPr id="9" name="Picture 8">
            <a:extLst>
              <a:ext uri="{FF2B5EF4-FFF2-40B4-BE49-F238E27FC236}">
                <a16:creationId xmlns:a16="http://schemas.microsoft.com/office/drawing/2014/main" id="{F3381AD4-385F-D718-AB4B-897BB32036F1}"/>
              </a:ext>
            </a:extLst>
          </p:cNvPr>
          <p:cNvPicPr>
            <a:picLocks noChangeAspect="1"/>
          </p:cNvPicPr>
          <p:nvPr userDrawn="1"/>
        </p:nvPicPr>
        <p:blipFill>
          <a:blip r:embed="rId5"/>
          <a:stretch>
            <a:fillRect/>
          </a:stretch>
        </p:blipFill>
        <p:spPr>
          <a:xfrm>
            <a:off x="216385" y="5684562"/>
            <a:ext cx="190015" cy="190015"/>
          </a:xfrm>
          <a:prstGeom prst="rect">
            <a:avLst/>
          </a:prstGeom>
        </p:spPr>
      </p:pic>
    </p:spTree>
    <p:extLst>
      <p:ext uri="{BB962C8B-B14F-4D97-AF65-F5344CB8AC3E}">
        <p14:creationId xmlns:p14="http://schemas.microsoft.com/office/powerpoint/2010/main" val="838965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nside_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8" name="Picture 7" descr="A picture containing text, clipart&#10;&#10;Description automatically generated">
            <a:extLst>
              <a:ext uri="{FF2B5EF4-FFF2-40B4-BE49-F238E27FC236}">
                <a16:creationId xmlns:a16="http://schemas.microsoft.com/office/drawing/2014/main" id="{4B4D839E-0978-A96F-C621-351C42255B6D}"/>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5" name="Picture 4" descr="Arrow&#10;&#10;Description automatically generated with medium confidence">
            <a:extLst>
              <a:ext uri="{FF2B5EF4-FFF2-40B4-BE49-F238E27FC236}">
                <a16:creationId xmlns:a16="http://schemas.microsoft.com/office/drawing/2014/main" id="{C9E6A9F7-6BD4-18B2-1BB9-24FCE6F17A32}"/>
              </a:ext>
            </a:extLst>
          </p:cNvPr>
          <p:cNvPicPr>
            <a:picLocks noChangeAspect="1"/>
          </p:cNvPicPr>
          <p:nvPr userDrawn="1"/>
        </p:nvPicPr>
        <p:blipFill>
          <a:blip r:embed="rId3"/>
          <a:stretch>
            <a:fillRect/>
          </a:stretch>
        </p:blipFill>
        <p:spPr>
          <a:xfrm>
            <a:off x="-10524" y="4641597"/>
            <a:ext cx="1790700" cy="2222500"/>
          </a:xfrm>
          <a:prstGeom prst="rect">
            <a:avLst/>
          </a:prstGeom>
        </p:spPr>
      </p:pic>
    </p:spTree>
    <p:extLst>
      <p:ext uri="{BB962C8B-B14F-4D97-AF65-F5344CB8AC3E}">
        <p14:creationId xmlns:p14="http://schemas.microsoft.com/office/powerpoint/2010/main" val="2117774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side_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16" name="Picture 15" descr="A picture containing text, clipart&#10;&#10;Description automatically generated">
            <a:extLst>
              <a:ext uri="{FF2B5EF4-FFF2-40B4-BE49-F238E27FC236}">
                <a16:creationId xmlns:a16="http://schemas.microsoft.com/office/drawing/2014/main" id="{D1F79079-1C93-794D-8120-D396A7EFB050}"/>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18" name="Picture 17">
            <a:extLst>
              <a:ext uri="{FF2B5EF4-FFF2-40B4-BE49-F238E27FC236}">
                <a16:creationId xmlns:a16="http://schemas.microsoft.com/office/drawing/2014/main" id="{73BA3EC2-A178-8D7E-E104-A74BB39D5B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0250" y="5900518"/>
            <a:ext cx="294449" cy="294449"/>
          </a:xfrm>
          <a:prstGeom prst="rect">
            <a:avLst/>
          </a:prstGeom>
        </p:spPr>
      </p:pic>
      <p:pic>
        <p:nvPicPr>
          <p:cNvPr id="19" name="Picture 18">
            <a:extLst>
              <a:ext uri="{FF2B5EF4-FFF2-40B4-BE49-F238E27FC236}">
                <a16:creationId xmlns:a16="http://schemas.microsoft.com/office/drawing/2014/main" id="{2C93BC3B-C6BE-1DB1-F6DA-AA18EE4B5D61}"/>
              </a:ext>
            </a:extLst>
          </p:cNvPr>
          <p:cNvPicPr>
            <a:picLocks noChangeAspect="1"/>
          </p:cNvPicPr>
          <p:nvPr userDrawn="1"/>
        </p:nvPicPr>
        <p:blipFill>
          <a:blip r:embed="rId4"/>
          <a:stretch>
            <a:fillRect/>
          </a:stretch>
        </p:blipFill>
        <p:spPr>
          <a:xfrm>
            <a:off x="11476796" y="3846874"/>
            <a:ext cx="508000" cy="508000"/>
          </a:xfrm>
          <a:prstGeom prst="rect">
            <a:avLst/>
          </a:prstGeom>
        </p:spPr>
      </p:pic>
      <p:pic>
        <p:nvPicPr>
          <p:cNvPr id="20" name="Picture 19">
            <a:extLst>
              <a:ext uri="{FF2B5EF4-FFF2-40B4-BE49-F238E27FC236}">
                <a16:creationId xmlns:a16="http://schemas.microsoft.com/office/drawing/2014/main" id="{61089BE3-CF59-862A-EDAF-26C0B86ADB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48128" y="3256144"/>
            <a:ext cx="282537" cy="282537"/>
          </a:xfrm>
          <a:prstGeom prst="rect">
            <a:avLst/>
          </a:prstGeom>
        </p:spPr>
      </p:pic>
      <p:sp>
        <p:nvSpPr>
          <p:cNvPr id="11" name="Text Placeholder 20">
            <a:extLst>
              <a:ext uri="{FF2B5EF4-FFF2-40B4-BE49-F238E27FC236}">
                <a16:creationId xmlns:a16="http://schemas.microsoft.com/office/drawing/2014/main" id="{5B7D3AE5-0F2C-FD87-736F-8FE096EF452F}"/>
              </a:ext>
            </a:extLst>
          </p:cNvPr>
          <p:cNvSpPr>
            <a:spLocks noGrp="1"/>
          </p:cNvSpPr>
          <p:nvPr>
            <p:ph type="body" sz="quarter" idx="20" hasCustomPrompt="1"/>
          </p:nvPr>
        </p:nvSpPr>
        <p:spPr>
          <a:xfrm>
            <a:off x="918209" y="2758477"/>
            <a:ext cx="10328910" cy="458313"/>
          </a:xfrm>
        </p:spPr>
        <p:txBody>
          <a:bodyPr/>
          <a:lstStyle>
            <a:lvl1pPr>
              <a:buNone/>
              <a:defRPr>
                <a:solidFill>
                  <a:srgbClr val="2DB035"/>
                </a:solidFill>
              </a:defRPr>
            </a:lvl1pPr>
          </a:lstStyle>
          <a:p>
            <a:pPr lvl="0"/>
            <a:r>
              <a:rPr lang="en-US" dirty="0"/>
              <a:t>Title</a:t>
            </a:r>
          </a:p>
        </p:txBody>
      </p:sp>
      <p:sp>
        <p:nvSpPr>
          <p:cNvPr id="13" name="Text Placeholder 17">
            <a:extLst>
              <a:ext uri="{FF2B5EF4-FFF2-40B4-BE49-F238E27FC236}">
                <a16:creationId xmlns:a16="http://schemas.microsoft.com/office/drawing/2014/main" id="{7709F7FA-6067-9445-C912-2D4E414650BD}"/>
              </a:ext>
            </a:extLst>
          </p:cNvPr>
          <p:cNvSpPr>
            <a:spLocks noGrp="1"/>
          </p:cNvSpPr>
          <p:nvPr>
            <p:ph type="body" sz="quarter" idx="21" hasCustomPrompt="1"/>
          </p:nvPr>
        </p:nvSpPr>
        <p:spPr>
          <a:xfrm>
            <a:off x="918210" y="3344580"/>
            <a:ext cx="10328910" cy="255061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Tree>
    <p:extLst>
      <p:ext uri="{BB962C8B-B14F-4D97-AF65-F5344CB8AC3E}">
        <p14:creationId xmlns:p14="http://schemas.microsoft.com/office/powerpoint/2010/main" val="4025832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side_Text Blue Box">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r>
              <a:rPr lang="en-US" dirty="0"/>
              <a:t>Click to edit head</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8" name="Picture 7">
            <a:extLst>
              <a:ext uri="{FF2B5EF4-FFF2-40B4-BE49-F238E27FC236}">
                <a16:creationId xmlns:a16="http://schemas.microsoft.com/office/drawing/2014/main" id="{5E57E8C7-3445-0D45-A5A4-9C43E0AE46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5389" y="2651845"/>
            <a:ext cx="328126" cy="328126"/>
          </a:xfrm>
          <a:prstGeom prst="rect">
            <a:avLst/>
          </a:prstGeom>
        </p:spPr>
      </p:pic>
      <p:pic>
        <p:nvPicPr>
          <p:cNvPr id="11" name="Picture 10">
            <a:extLst>
              <a:ext uri="{FF2B5EF4-FFF2-40B4-BE49-F238E27FC236}">
                <a16:creationId xmlns:a16="http://schemas.microsoft.com/office/drawing/2014/main" id="{C5A505ED-328D-6E41-9774-349A53D654E8}"/>
              </a:ext>
            </a:extLst>
          </p:cNvPr>
          <p:cNvPicPr>
            <a:picLocks noChangeAspect="1"/>
          </p:cNvPicPr>
          <p:nvPr userDrawn="1"/>
        </p:nvPicPr>
        <p:blipFill>
          <a:blip r:embed="rId3"/>
          <a:stretch>
            <a:fillRect/>
          </a:stretch>
        </p:blipFill>
        <p:spPr>
          <a:xfrm>
            <a:off x="863702" y="5083684"/>
            <a:ext cx="285750" cy="285750"/>
          </a:xfrm>
          <a:prstGeom prst="rect">
            <a:avLst/>
          </a:prstGeom>
        </p:spPr>
      </p:pic>
      <p:pic>
        <p:nvPicPr>
          <p:cNvPr id="12" name="Picture 11">
            <a:extLst>
              <a:ext uri="{FF2B5EF4-FFF2-40B4-BE49-F238E27FC236}">
                <a16:creationId xmlns:a16="http://schemas.microsoft.com/office/drawing/2014/main" id="{5A7229C2-2CA2-C64C-813E-3F26AB2A92EB}"/>
              </a:ext>
            </a:extLst>
          </p:cNvPr>
          <p:cNvPicPr>
            <a:picLocks noChangeAspect="1"/>
          </p:cNvPicPr>
          <p:nvPr userDrawn="1"/>
        </p:nvPicPr>
        <p:blipFill>
          <a:blip r:embed="rId4"/>
          <a:stretch>
            <a:fillRect/>
          </a:stretch>
        </p:blipFill>
        <p:spPr>
          <a:xfrm>
            <a:off x="1463039" y="5753750"/>
            <a:ext cx="571500" cy="571500"/>
          </a:xfrm>
          <a:prstGeom prst="rect">
            <a:avLst/>
          </a:prstGeom>
        </p:spPr>
      </p:pic>
      <p:pic>
        <p:nvPicPr>
          <p:cNvPr id="13" name="Picture 12">
            <a:extLst>
              <a:ext uri="{FF2B5EF4-FFF2-40B4-BE49-F238E27FC236}">
                <a16:creationId xmlns:a16="http://schemas.microsoft.com/office/drawing/2014/main" id="{9D12F2F5-C4A6-224E-8171-317722B6FE42}"/>
              </a:ext>
            </a:extLst>
          </p:cNvPr>
          <p:cNvPicPr>
            <a:picLocks noChangeAspect="1"/>
          </p:cNvPicPr>
          <p:nvPr userDrawn="1"/>
        </p:nvPicPr>
        <p:blipFill>
          <a:blip r:embed="rId4"/>
          <a:stretch>
            <a:fillRect/>
          </a:stretch>
        </p:blipFill>
        <p:spPr>
          <a:xfrm>
            <a:off x="10789919" y="4769358"/>
            <a:ext cx="457201" cy="457201"/>
          </a:xfrm>
          <a:prstGeom prst="rect">
            <a:avLst/>
          </a:prstGeom>
        </p:spPr>
      </p:pic>
      <p:pic>
        <p:nvPicPr>
          <p:cNvPr id="18" name="Picture 17" descr="A picture containing text, clipart&#10;&#10;Description automatically generated">
            <a:extLst>
              <a:ext uri="{FF2B5EF4-FFF2-40B4-BE49-F238E27FC236}">
                <a16:creationId xmlns:a16="http://schemas.microsoft.com/office/drawing/2014/main" id="{AAA5E23C-A97A-4F49-BDC4-74CE1B80621A}"/>
              </a:ext>
            </a:extLst>
          </p:cNvPr>
          <p:cNvPicPr>
            <a:picLocks noChangeAspect="1"/>
          </p:cNvPicPr>
          <p:nvPr userDrawn="1"/>
        </p:nvPicPr>
        <p:blipFill>
          <a:blip r:embed="rId5"/>
          <a:stretch>
            <a:fillRect/>
          </a:stretch>
        </p:blipFill>
        <p:spPr>
          <a:xfrm>
            <a:off x="10133703" y="6325250"/>
            <a:ext cx="1738361" cy="194422"/>
          </a:xfrm>
          <a:prstGeom prst="rect">
            <a:avLst/>
          </a:prstGeom>
        </p:spPr>
      </p:pic>
      <p:pic>
        <p:nvPicPr>
          <p:cNvPr id="3" name="Picture 2" descr="Icon&#10;&#10;Description automatically generated with low confidence">
            <a:extLst>
              <a:ext uri="{FF2B5EF4-FFF2-40B4-BE49-F238E27FC236}">
                <a16:creationId xmlns:a16="http://schemas.microsoft.com/office/drawing/2014/main" id="{CDDDF803-7CB3-5A84-15EB-1C3E426512BD}"/>
              </a:ext>
            </a:extLst>
          </p:cNvPr>
          <p:cNvPicPr>
            <a:picLocks noChangeAspect="1"/>
          </p:cNvPicPr>
          <p:nvPr userDrawn="1"/>
        </p:nvPicPr>
        <p:blipFill>
          <a:blip r:embed="rId6"/>
          <a:stretch>
            <a:fillRect/>
          </a:stretch>
        </p:blipFill>
        <p:spPr>
          <a:xfrm rot="10800000">
            <a:off x="9904589" y="-11289"/>
            <a:ext cx="2298700" cy="2298700"/>
          </a:xfrm>
          <a:prstGeom prst="rect">
            <a:avLst/>
          </a:prstGeom>
        </p:spPr>
      </p:pic>
      <p:pic>
        <p:nvPicPr>
          <p:cNvPr id="19" name="Picture 18">
            <a:extLst>
              <a:ext uri="{FF2B5EF4-FFF2-40B4-BE49-F238E27FC236}">
                <a16:creationId xmlns:a16="http://schemas.microsoft.com/office/drawing/2014/main" id="{D5F64BD9-58F5-32A5-A4AE-7427250E69AC}"/>
              </a:ext>
            </a:extLst>
          </p:cNvPr>
          <p:cNvPicPr>
            <a:picLocks noChangeAspect="1"/>
          </p:cNvPicPr>
          <p:nvPr userDrawn="1"/>
        </p:nvPicPr>
        <p:blipFill>
          <a:blip r:embed="rId7"/>
          <a:stretch>
            <a:fillRect/>
          </a:stretch>
        </p:blipFill>
        <p:spPr>
          <a:xfrm>
            <a:off x="10662576" y="4172894"/>
            <a:ext cx="254685" cy="254685"/>
          </a:xfrm>
          <a:prstGeom prst="rect">
            <a:avLst/>
          </a:prstGeom>
        </p:spPr>
      </p:pic>
      <p:pic>
        <p:nvPicPr>
          <p:cNvPr id="20" name="Picture 19">
            <a:extLst>
              <a:ext uri="{FF2B5EF4-FFF2-40B4-BE49-F238E27FC236}">
                <a16:creationId xmlns:a16="http://schemas.microsoft.com/office/drawing/2014/main" id="{A591BACB-2FF6-B42A-95DB-DCFB84A813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84763" y="2612089"/>
            <a:ext cx="328126" cy="328126"/>
          </a:xfrm>
          <a:prstGeom prst="rect">
            <a:avLst/>
          </a:prstGeom>
        </p:spPr>
      </p:pic>
      <p:sp>
        <p:nvSpPr>
          <p:cNvPr id="23" name="Text Placeholder 20">
            <a:extLst>
              <a:ext uri="{FF2B5EF4-FFF2-40B4-BE49-F238E27FC236}">
                <a16:creationId xmlns:a16="http://schemas.microsoft.com/office/drawing/2014/main" id="{A539B600-D2E1-0C26-F4DA-D65AE9662D9F}"/>
              </a:ext>
            </a:extLst>
          </p:cNvPr>
          <p:cNvSpPr>
            <a:spLocks noGrp="1"/>
          </p:cNvSpPr>
          <p:nvPr>
            <p:ph type="body" sz="quarter" idx="20" hasCustomPrompt="1"/>
          </p:nvPr>
        </p:nvSpPr>
        <p:spPr>
          <a:xfrm>
            <a:off x="2034539" y="2323674"/>
            <a:ext cx="8275320" cy="458313"/>
          </a:xfrm>
        </p:spPr>
        <p:txBody>
          <a:bodyPr/>
          <a:lstStyle>
            <a:lvl1pPr>
              <a:buNone/>
              <a:defRPr>
                <a:solidFill>
                  <a:schemeClr val="tx1"/>
                </a:solidFill>
              </a:defRPr>
            </a:lvl1pPr>
          </a:lstStyle>
          <a:p>
            <a:pPr lvl="0"/>
            <a:r>
              <a:rPr lang="en-US" dirty="0"/>
              <a:t>Title</a:t>
            </a:r>
          </a:p>
        </p:txBody>
      </p:sp>
      <p:sp>
        <p:nvSpPr>
          <p:cNvPr id="24" name="Text Placeholder 17">
            <a:extLst>
              <a:ext uri="{FF2B5EF4-FFF2-40B4-BE49-F238E27FC236}">
                <a16:creationId xmlns:a16="http://schemas.microsoft.com/office/drawing/2014/main" id="{70F1880E-412C-93F0-54AB-6D64B40BB938}"/>
              </a:ext>
            </a:extLst>
          </p:cNvPr>
          <p:cNvSpPr>
            <a:spLocks noGrp="1"/>
          </p:cNvSpPr>
          <p:nvPr>
            <p:ph type="body" sz="quarter" idx="21" hasCustomPrompt="1"/>
          </p:nvPr>
        </p:nvSpPr>
        <p:spPr>
          <a:xfrm>
            <a:off x="2034540" y="2909777"/>
            <a:ext cx="8275320" cy="2073704"/>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Tree>
    <p:extLst>
      <p:ext uri="{BB962C8B-B14F-4D97-AF65-F5344CB8AC3E}">
        <p14:creationId xmlns:p14="http://schemas.microsoft.com/office/powerpoint/2010/main" val="3776637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side_Text Green Box">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r>
              <a:rPr lang="en-US" dirty="0"/>
              <a:t>Click to edit head</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2" name="Picture 21">
            <a:extLst>
              <a:ext uri="{FF2B5EF4-FFF2-40B4-BE49-F238E27FC236}">
                <a16:creationId xmlns:a16="http://schemas.microsoft.com/office/drawing/2014/main" id="{8549A98B-066B-0141-8247-B4D9C1FFDC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5145" y="3263518"/>
            <a:ext cx="332440" cy="332440"/>
          </a:xfrm>
          <a:prstGeom prst="rect">
            <a:avLst/>
          </a:prstGeom>
        </p:spPr>
      </p:pic>
      <p:pic>
        <p:nvPicPr>
          <p:cNvPr id="23" name="Picture 22">
            <a:extLst>
              <a:ext uri="{FF2B5EF4-FFF2-40B4-BE49-F238E27FC236}">
                <a16:creationId xmlns:a16="http://schemas.microsoft.com/office/drawing/2014/main" id="{C7308EE3-1A39-1D4E-8617-CA64F5CA7299}"/>
              </a:ext>
            </a:extLst>
          </p:cNvPr>
          <p:cNvPicPr>
            <a:picLocks noChangeAspect="1"/>
          </p:cNvPicPr>
          <p:nvPr userDrawn="1"/>
        </p:nvPicPr>
        <p:blipFill>
          <a:blip r:embed="rId3"/>
          <a:stretch>
            <a:fillRect/>
          </a:stretch>
        </p:blipFill>
        <p:spPr>
          <a:xfrm>
            <a:off x="647876" y="2651162"/>
            <a:ext cx="214072" cy="214072"/>
          </a:xfrm>
          <a:prstGeom prst="rect">
            <a:avLst/>
          </a:prstGeom>
        </p:spPr>
      </p:pic>
      <p:pic>
        <p:nvPicPr>
          <p:cNvPr id="24" name="Picture 23">
            <a:extLst>
              <a:ext uri="{FF2B5EF4-FFF2-40B4-BE49-F238E27FC236}">
                <a16:creationId xmlns:a16="http://schemas.microsoft.com/office/drawing/2014/main" id="{3B9948A4-C558-BB4A-B4C7-F471AA53BF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34558" y="3581836"/>
            <a:ext cx="332440" cy="332440"/>
          </a:xfrm>
          <a:prstGeom prst="rect">
            <a:avLst/>
          </a:prstGeom>
        </p:spPr>
      </p:pic>
      <p:pic>
        <p:nvPicPr>
          <p:cNvPr id="25" name="Picture 24">
            <a:extLst>
              <a:ext uri="{FF2B5EF4-FFF2-40B4-BE49-F238E27FC236}">
                <a16:creationId xmlns:a16="http://schemas.microsoft.com/office/drawing/2014/main" id="{A363304B-CCE2-784F-A143-DB5AA1BB9A85}"/>
              </a:ext>
            </a:extLst>
          </p:cNvPr>
          <p:cNvPicPr>
            <a:picLocks noChangeAspect="1"/>
          </p:cNvPicPr>
          <p:nvPr userDrawn="1"/>
        </p:nvPicPr>
        <p:blipFill>
          <a:blip r:embed="rId3"/>
          <a:stretch>
            <a:fillRect/>
          </a:stretch>
        </p:blipFill>
        <p:spPr>
          <a:xfrm>
            <a:off x="11045256" y="4159724"/>
            <a:ext cx="166220" cy="166220"/>
          </a:xfrm>
          <a:prstGeom prst="rect">
            <a:avLst/>
          </a:prstGeom>
        </p:spPr>
      </p:pic>
      <p:pic>
        <p:nvPicPr>
          <p:cNvPr id="16" name="Picture 15" descr="A picture containing text, clipart&#10;&#10;Description automatically generated">
            <a:extLst>
              <a:ext uri="{FF2B5EF4-FFF2-40B4-BE49-F238E27FC236}">
                <a16:creationId xmlns:a16="http://schemas.microsoft.com/office/drawing/2014/main" id="{A5AB21B8-C236-CC42-AD9C-7A06CE66013D}"/>
              </a:ext>
            </a:extLst>
          </p:cNvPr>
          <p:cNvPicPr>
            <a:picLocks noChangeAspect="1"/>
          </p:cNvPicPr>
          <p:nvPr userDrawn="1"/>
        </p:nvPicPr>
        <p:blipFill>
          <a:blip r:embed="rId4"/>
          <a:stretch>
            <a:fillRect/>
          </a:stretch>
        </p:blipFill>
        <p:spPr>
          <a:xfrm>
            <a:off x="10133703" y="6325250"/>
            <a:ext cx="1738361" cy="194422"/>
          </a:xfrm>
          <a:prstGeom prst="rect">
            <a:avLst/>
          </a:prstGeom>
        </p:spPr>
      </p:pic>
      <p:pic>
        <p:nvPicPr>
          <p:cNvPr id="2" name="Picture 1">
            <a:extLst>
              <a:ext uri="{FF2B5EF4-FFF2-40B4-BE49-F238E27FC236}">
                <a16:creationId xmlns:a16="http://schemas.microsoft.com/office/drawing/2014/main" id="{BCEE94BC-EF36-3F4B-9BC5-E5CDB6778963}"/>
              </a:ext>
            </a:extLst>
          </p:cNvPr>
          <p:cNvPicPr>
            <a:picLocks noChangeAspect="1"/>
          </p:cNvPicPr>
          <p:nvPr userDrawn="1"/>
        </p:nvPicPr>
        <p:blipFill>
          <a:blip r:embed="rId5"/>
          <a:stretch>
            <a:fillRect/>
          </a:stretch>
        </p:blipFill>
        <p:spPr>
          <a:xfrm>
            <a:off x="10833961" y="3251636"/>
            <a:ext cx="330200" cy="330200"/>
          </a:xfrm>
          <a:prstGeom prst="rect">
            <a:avLst/>
          </a:prstGeom>
        </p:spPr>
      </p:pic>
      <p:pic>
        <p:nvPicPr>
          <p:cNvPr id="26" name="Picture 25">
            <a:extLst>
              <a:ext uri="{FF2B5EF4-FFF2-40B4-BE49-F238E27FC236}">
                <a16:creationId xmlns:a16="http://schemas.microsoft.com/office/drawing/2014/main" id="{010165FE-5C8A-1849-B936-A5B1036CAFE8}"/>
              </a:ext>
            </a:extLst>
          </p:cNvPr>
          <p:cNvPicPr>
            <a:picLocks noChangeAspect="1"/>
          </p:cNvPicPr>
          <p:nvPr userDrawn="1"/>
        </p:nvPicPr>
        <p:blipFill>
          <a:blip r:embed="rId5"/>
          <a:stretch>
            <a:fillRect/>
          </a:stretch>
        </p:blipFill>
        <p:spPr>
          <a:xfrm>
            <a:off x="652842" y="3919847"/>
            <a:ext cx="330200" cy="330200"/>
          </a:xfrm>
          <a:prstGeom prst="rect">
            <a:avLst/>
          </a:prstGeom>
        </p:spPr>
      </p:pic>
      <p:pic>
        <p:nvPicPr>
          <p:cNvPr id="5" name="Picture 4" descr="Arrow&#10;&#10;Description automatically generated with medium confidence">
            <a:extLst>
              <a:ext uri="{FF2B5EF4-FFF2-40B4-BE49-F238E27FC236}">
                <a16:creationId xmlns:a16="http://schemas.microsoft.com/office/drawing/2014/main" id="{82EA494A-B6AB-1020-4E6A-31FB5E1A7863}"/>
              </a:ext>
            </a:extLst>
          </p:cNvPr>
          <p:cNvPicPr>
            <a:picLocks noChangeAspect="1"/>
          </p:cNvPicPr>
          <p:nvPr userDrawn="1"/>
        </p:nvPicPr>
        <p:blipFill>
          <a:blip r:embed="rId6"/>
          <a:stretch>
            <a:fillRect/>
          </a:stretch>
        </p:blipFill>
        <p:spPr>
          <a:xfrm>
            <a:off x="-10705" y="4648713"/>
            <a:ext cx="1790700" cy="2222500"/>
          </a:xfrm>
          <a:prstGeom prst="rect">
            <a:avLst/>
          </a:prstGeom>
        </p:spPr>
      </p:pic>
      <p:sp>
        <p:nvSpPr>
          <p:cNvPr id="19" name="Text Placeholder 20">
            <a:extLst>
              <a:ext uri="{FF2B5EF4-FFF2-40B4-BE49-F238E27FC236}">
                <a16:creationId xmlns:a16="http://schemas.microsoft.com/office/drawing/2014/main" id="{093E8E3E-7432-CF30-E878-F6CB1DDA538B}"/>
              </a:ext>
            </a:extLst>
          </p:cNvPr>
          <p:cNvSpPr>
            <a:spLocks noGrp="1"/>
          </p:cNvSpPr>
          <p:nvPr>
            <p:ph type="body" sz="quarter" idx="16" hasCustomPrompt="1"/>
          </p:nvPr>
        </p:nvSpPr>
        <p:spPr>
          <a:xfrm>
            <a:off x="1470303" y="1848283"/>
            <a:ext cx="9087692" cy="3885761"/>
          </a:xfrm>
          <a:prstGeom prst="roundRect">
            <a:avLst/>
          </a:prstGeom>
          <a:solidFill>
            <a:srgbClr val="CAEBCC"/>
          </a:solidFill>
        </p:spPr>
        <p:txBody>
          <a:bodyPr>
            <a:normAutofit/>
          </a:bodyPr>
          <a:lstStyle>
            <a:lvl1pPr marL="285750" indent="-285750" algn="l">
              <a:buFont typeface="Arial" panose="020B0604020202020204" pitchFamily="34" charset="0"/>
              <a:buChar char="•"/>
              <a:defRPr sz="1800">
                <a:solidFill>
                  <a:schemeClr val="tx1"/>
                </a:solidFill>
              </a:defRPr>
            </a:lvl1pPr>
          </a:lstStyle>
          <a:p>
            <a:pPr lvl="0"/>
            <a:r>
              <a:rPr lang="en-US" dirty="0"/>
              <a:t>Add bullet point</a:t>
            </a:r>
          </a:p>
        </p:txBody>
      </p:sp>
    </p:spTree>
    <p:extLst>
      <p:ext uri="{BB962C8B-B14F-4D97-AF65-F5344CB8AC3E}">
        <p14:creationId xmlns:p14="http://schemas.microsoft.com/office/powerpoint/2010/main" val="1006244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side_Text 2 Columns">
    <p:spTree>
      <p:nvGrpSpPr>
        <p:cNvPr id="1" name=""/>
        <p:cNvGrpSpPr/>
        <p:nvPr/>
      </p:nvGrpSpPr>
      <p:grpSpPr>
        <a:xfrm>
          <a:off x="0" y="0"/>
          <a:ext cx="0" cy="0"/>
          <a:chOff x="0" y="0"/>
          <a:chExt cx="0" cy="0"/>
        </a:xfrm>
      </p:grpSpPr>
      <p:sp>
        <p:nvSpPr>
          <p:cNvPr id="8" name="Text Placeholder 20">
            <a:extLst>
              <a:ext uri="{FF2B5EF4-FFF2-40B4-BE49-F238E27FC236}">
                <a16:creationId xmlns:a16="http://schemas.microsoft.com/office/drawing/2014/main" id="{E6D0C6B2-93C0-A849-9F03-EEF20C5CA51F}"/>
              </a:ext>
            </a:extLst>
          </p:cNvPr>
          <p:cNvSpPr>
            <a:spLocks noGrp="1"/>
          </p:cNvSpPr>
          <p:nvPr>
            <p:ph type="body" sz="quarter" idx="13" hasCustomPrompt="1"/>
          </p:nvPr>
        </p:nvSpPr>
        <p:spPr>
          <a:xfrm>
            <a:off x="918209" y="2758477"/>
            <a:ext cx="4947300" cy="458313"/>
          </a:xfrm>
        </p:spPr>
        <p:txBody>
          <a:bodyPr/>
          <a:lstStyle>
            <a:lvl1pPr>
              <a:buNone/>
              <a:defRPr>
                <a:solidFill>
                  <a:srgbClr val="2DB035"/>
                </a:solidFill>
              </a:defRPr>
            </a:lvl1pPr>
          </a:lstStyle>
          <a:p>
            <a:pPr lvl="0"/>
            <a:r>
              <a:rPr lang="en-US" dirty="0"/>
              <a:t>Title</a:t>
            </a:r>
          </a:p>
        </p:txBody>
      </p:sp>
      <p:sp>
        <p:nvSpPr>
          <p:cNvPr id="10" name="Text Placeholder 20">
            <a:extLst>
              <a:ext uri="{FF2B5EF4-FFF2-40B4-BE49-F238E27FC236}">
                <a16:creationId xmlns:a16="http://schemas.microsoft.com/office/drawing/2014/main" id="{042C0E72-51EA-F740-AED7-A0EA7F4A8CE8}"/>
              </a:ext>
            </a:extLst>
          </p:cNvPr>
          <p:cNvSpPr>
            <a:spLocks noGrp="1"/>
          </p:cNvSpPr>
          <p:nvPr>
            <p:ph type="body" sz="quarter" idx="15" hasCustomPrompt="1"/>
          </p:nvPr>
        </p:nvSpPr>
        <p:spPr>
          <a:xfrm>
            <a:off x="6244847" y="2758477"/>
            <a:ext cx="5036764" cy="458313"/>
          </a:xfrm>
        </p:spPr>
        <p:txBody>
          <a:bodyPr/>
          <a:lstStyle>
            <a:lvl1pPr>
              <a:buNone/>
              <a:defRPr>
                <a:solidFill>
                  <a:srgbClr val="2DB035"/>
                </a:solidFill>
              </a:defRPr>
            </a:lvl1pPr>
          </a:lstStyle>
          <a:p>
            <a:pPr lvl="0"/>
            <a:r>
              <a:rPr lang="en-US" dirty="0"/>
              <a:t>Title</a:t>
            </a:r>
          </a:p>
        </p:txBody>
      </p:sp>
      <p:pic>
        <p:nvPicPr>
          <p:cNvPr id="18" name="Picture 17">
            <a:extLst>
              <a:ext uri="{FF2B5EF4-FFF2-40B4-BE49-F238E27FC236}">
                <a16:creationId xmlns:a16="http://schemas.microsoft.com/office/drawing/2014/main" id="{3C5DA03B-B8F9-2744-B566-AC35493419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9618" y="3790808"/>
            <a:ext cx="258800" cy="258800"/>
          </a:xfrm>
          <a:prstGeom prst="rect">
            <a:avLst/>
          </a:prstGeom>
        </p:spPr>
      </p:pic>
      <p:pic>
        <p:nvPicPr>
          <p:cNvPr id="19" name="Picture 18">
            <a:extLst>
              <a:ext uri="{FF2B5EF4-FFF2-40B4-BE49-F238E27FC236}">
                <a16:creationId xmlns:a16="http://schemas.microsoft.com/office/drawing/2014/main" id="{705C0DA4-C8C6-4E41-B62D-3285005390F0}"/>
              </a:ext>
            </a:extLst>
          </p:cNvPr>
          <p:cNvPicPr>
            <a:picLocks noChangeAspect="1"/>
          </p:cNvPicPr>
          <p:nvPr userDrawn="1"/>
        </p:nvPicPr>
        <p:blipFill>
          <a:blip r:embed="rId3"/>
          <a:stretch>
            <a:fillRect/>
          </a:stretch>
        </p:blipFill>
        <p:spPr>
          <a:xfrm>
            <a:off x="205599" y="6405335"/>
            <a:ext cx="228674" cy="228674"/>
          </a:xfrm>
          <a:prstGeom prst="rect">
            <a:avLst/>
          </a:prstGeom>
        </p:spPr>
      </p:pic>
      <p:pic>
        <p:nvPicPr>
          <p:cNvPr id="22" name="Picture 21">
            <a:extLst>
              <a:ext uri="{FF2B5EF4-FFF2-40B4-BE49-F238E27FC236}">
                <a16:creationId xmlns:a16="http://schemas.microsoft.com/office/drawing/2014/main" id="{1F51EDEE-E7E8-EA40-A2E5-C82055D343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4273" y="5808853"/>
            <a:ext cx="332440" cy="332440"/>
          </a:xfrm>
          <a:prstGeom prst="rect">
            <a:avLst/>
          </a:prstGeom>
        </p:spPr>
      </p:pic>
      <p:pic>
        <p:nvPicPr>
          <p:cNvPr id="24" name="Picture 23">
            <a:extLst>
              <a:ext uri="{FF2B5EF4-FFF2-40B4-BE49-F238E27FC236}">
                <a16:creationId xmlns:a16="http://schemas.microsoft.com/office/drawing/2014/main" id="{94E1D214-000B-AD43-B9B1-2F22333654F2}"/>
              </a:ext>
            </a:extLst>
          </p:cNvPr>
          <p:cNvPicPr>
            <a:picLocks noChangeAspect="1"/>
          </p:cNvPicPr>
          <p:nvPr userDrawn="1"/>
        </p:nvPicPr>
        <p:blipFill>
          <a:blip r:embed="rId4"/>
          <a:stretch>
            <a:fillRect/>
          </a:stretch>
        </p:blipFill>
        <p:spPr>
          <a:xfrm>
            <a:off x="11645308" y="5761635"/>
            <a:ext cx="166220" cy="166220"/>
          </a:xfrm>
          <a:prstGeom prst="rect">
            <a:avLst/>
          </a:prstGeom>
        </p:spPr>
      </p:pic>
      <p:pic>
        <p:nvPicPr>
          <p:cNvPr id="25" name="Picture 24">
            <a:extLst>
              <a:ext uri="{FF2B5EF4-FFF2-40B4-BE49-F238E27FC236}">
                <a16:creationId xmlns:a16="http://schemas.microsoft.com/office/drawing/2014/main" id="{EFFBCA96-B4C4-694D-801A-69DE6BB746F3}"/>
              </a:ext>
            </a:extLst>
          </p:cNvPr>
          <p:cNvPicPr>
            <a:picLocks noChangeAspect="1"/>
          </p:cNvPicPr>
          <p:nvPr userDrawn="1"/>
        </p:nvPicPr>
        <p:blipFill>
          <a:blip r:embed="rId3"/>
          <a:stretch>
            <a:fillRect/>
          </a:stretch>
        </p:blipFill>
        <p:spPr>
          <a:xfrm>
            <a:off x="11579110" y="3028613"/>
            <a:ext cx="371020" cy="371020"/>
          </a:xfrm>
          <a:prstGeom prst="rect">
            <a:avLst/>
          </a:prstGeom>
        </p:spPr>
      </p:pic>
      <p:sp>
        <p:nvSpPr>
          <p:cNvPr id="16" name="Text Placeholder 17">
            <a:extLst>
              <a:ext uri="{FF2B5EF4-FFF2-40B4-BE49-F238E27FC236}">
                <a16:creationId xmlns:a16="http://schemas.microsoft.com/office/drawing/2014/main" id="{E5964330-CFA7-4D4E-B29C-F96FD27E482D}"/>
              </a:ext>
            </a:extLst>
          </p:cNvPr>
          <p:cNvSpPr>
            <a:spLocks noGrp="1"/>
          </p:cNvSpPr>
          <p:nvPr>
            <p:ph type="body" sz="quarter" idx="19" hasCustomPrompt="1"/>
          </p:nvPr>
        </p:nvSpPr>
        <p:spPr>
          <a:xfrm>
            <a:off x="918210" y="3344580"/>
            <a:ext cx="4947300" cy="255061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20" name="Text Placeholder 17">
            <a:extLst>
              <a:ext uri="{FF2B5EF4-FFF2-40B4-BE49-F238E27FC236}">
                <a16:creationId xmlns:a16="http://schemas.microsoft.com/office/drawing/2014/main" id="{4D71D36E-ADD4-5542-8D36-21B470D656D4}"/>
              </a:ext>
            </a:extLst>
          </p:cNvPr>
          <p:cNvSpPr>
            <a:spLocks noGrp="1"/>
          </p:cNvSpPr>
          <p:nvPr>
            <p:ph type="body" sz="quarter" idx="20" hasCustomPrompt="1"/>
          </p:nvPr>
        </p:nvSpPr>
        <p:spPr>
          <a:xfrm>
            <a:off x="6237027" y="3344580"/>
            <a:ext cx="5036764" cy="255061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27" name="Picture 26" descr="A picture containing text, clipart&#10;&#10;Description automatically generated">
            <a:extLst>
              <a:ext uri="{FF2B5EF4-FFF2-40B4-BE49-F238E27FC236}">
                <a16:creationId xmlns:a16="http://schemas.microsoft.com/office/drawing/2014/main" id="{5C355764-624E-CD47-9F90-EF404CC46A6F}"/>
              </a:ext>
            </a:extLst>
          </p:cNvPr>
          <p:cNvPicPr>
            <a:picLocks noChangeAspect="1"/>
          </p:cNvPicPr>
          <p:nvPr userDrawn="1"/>
        </p:nvPicPr>
        <p:blipFill>
          <a:blip r:embed="rId5"/>
          <a:stretch>
            <a:fillRect/>
          </a:stretch>
        </p:blipFill>
        <p:spPr>
          <a:xfrm>
            <a:off x="10133703" y="6325250"/>
            <a:ext cx="1738361" cy="194422"/>
          </a:xfrm>
          <a:prstGeom prst="rect">
            <a:avLst/>
          </a:prstGeom>
        </p:spPr>
      </p:pic>
      <p:pic>
        <p:nvPicPr>
          <p:cNvPr id="2" name="Picture 1">
            <a:extLst>
              <a:ext uri="{FF2B5EF4-FFF2-40B4-BE49-F238E27FC236}">
                <a16:creationId xmlns:a16="http://schemas.microsoft.com/office/drawing/2014/main" id="{93D9294C-B7F0-D940-9F71-C69FDFF8191B}"/>
              </a:ext>
            </a:extLst>
          </p:cNvPr>
          <p:cNvPicPr>
            <a:picLocks noChangeAspect="1"/>
          </p:cNvPicPr>
          <p:nvPr userDrawn="1"/>
        </p:nvPicPr>
        <p:blipFill>
          <a:blip r:embed="rId6"/>
          <a:stretch>
            <a:fillRect/>
          </a:stretch>
        </p:blipFill>
        <p:spPr>
          <a:xfrm>
            <a:off x="262909" y="3719408"/>
            <a:ext cx="330200" cy="330200"/>
          </a:xfrm>
          <a:prstGeom prst="rect">
            <a:avLst/>
          </a:prstGeom>
        </p:spPr>
      </p:pic>
      <p:pic>
        <p:nvPicPr>
          <p:cNvPr id="3" name="Picture 2">
            <a:extLst>
              <a:ext uri="{FF2B5EF4-FFF2-40B4-BE49-F238E27FC236}">
                <a16:creationId xmlns:a16="http://schemas.microsoft.com/office/drawing/2014/main" id="{426F0FDA-4BE6-2A41-B165-FA0EC2478B0F}"/>
              </a:ext>
            </a:extLst>
          </p:cNvPr>
          <p:cNvPicPr>
            <a:picLocks noChangeAspect="1"/>
          </p:cNvPicPr>
          <p:nvPr userDrawn="1"/>
        </p:nvPicPr>
        <p:blipFill>
          <a:blip r:embed="rId7"/>
          <a:stretch>
            <a:fillRect/>
          </a:stretch>
        </p:blipFill>
        <p:spPr>
          <a:xfrm>
            <a:off x="11468131" y="5084139"/>
            <a:ext cx="385614" cy="385614"/>
          </a:xfrm>
          <a:prstGeom prst="rect">
            <a:avLst/>
          </a:prstGeom>
        </p:spPr>
      </p:pic>
      <p:pic>
        <p:nvPicPr>
          <p:cNvPr id="28" name="Picture 27">
            <a:extLst>
              <a:ext uri="{FF2B5EF4-FFF2-40B4-BE49-F238E27FC236}">
                <a16:creationId xmlns:a16="http://schemas.microsoft.com/office/drawing/2014/main" id="{DBBA86F9-202D-9241-8F3A-4B7A167D7305}"/>
              </a:ext>
            </a:extLst>
          </p:cNvPr>
          <p:cNvPicPr>
            <a:picLocks noChangeAspect="1"/>
          </p:cNvPicPr>
          <p:nvPr userDrawn="1"/>
        </p:nvPicPr>
        <p:blipFill>
          <a:blip r:embed="rId7"/>
          <a:stretch>
            <a:fillRect/>
          </a:stretch>
        </p:blipFill>
        <p:spPr>
          <a:xfrm>
            <a:off x="322374" y="3008966"/>
            <a:ext cx="385614" cy="385614"/>
          </a:xfrm>
          <a:prstGeom prst="rect">
            <a:avLst/>
          </a:prstGeom>
        </p:spPr>
      </p:pic>
      <p:sp>
        <p:nvSpPr>
          <p:cNvPr id="21" name="Title 6">
            <a:extLst>
              <a:ext uri="{FF2B5EF4-FFF2-40B4-BE49-F238E27FC236}">
                <a16:creationId xmlns:a16="http://schemas.microsoft.com/office/drawing/2014/main" id="{897037C6-6EB9-E502-3F1B-1A44637D61BF}"/>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23" name="Text Placeholder 16">
            <a:extLst>
              <a:ext uri="{FF2B5EF4-FFF2-40B4-BE49-F238E27FC236}">
                <a16:creationId xmlns:a16="http://schemas.microsoft.com/office/drawing/2014/main" id="{F580E6A9-14C9-232E-C24B-9F1F7BE68FFA}"/>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Tree>
    <p:extLst>
      <p:ext uri="{BB962C8B-B14F-4D97-AF65-F5344CB8AC3E}">
        <p14:creationId xmlns:p14="http://schemas.microsoft.com/office/powerpoint/2010/main" val="1188047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ide_Text 2 Columns Bulle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202979"/>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779051"/>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0" name="Picture 19" descr="A picture containing text, clipart&#10;&#10;Description automatically generated">
            <a:extLst>
              <a:ext uri="{FF2B5EF4-FFF2-40B4-BE49-F238E27FC236}">
                <a16:creationId xmlns:a16="http://schemas.microsoft.com/office/drawing/2014/main" id="{FA6666E7-5211-BB45-A403-808E751FF742}"/>
              </a:ext>
            </a:extLst>
          </p:cNvPr>
          <p:cNvPicPr>
            <a:picLocks noChangeAspect="1"/>
          </p:cNvPicPr>
          <p:nvPr userDrawn="1"/>
        </p:nvPicPr>
        <p:blipFill>
          <a:blip r:embed="rId2"/>
          <a:stretch>
            <a:fillRect/>
          </a:stretch>
        </p:blipFill>
        <p:spPr>
          <a:xfrm>
            <a:off x="10133703" y="6325250"/>
            <a:ext cx="1738361" cy="194422"/>
          </a:xfrm>
          <a:prstGeom prst="rect">
            <a:avLst/>
          </a:prstGeom>
        </p:spPr>
      </p:pic>
      <p:sp>
        <p:nvSpPr>
          <p:cNvPr id="11" name="Text Placeholder 20">
            <a:extLst>
              <a:ext uri="{FF2B5EF4-FFF2-40B4-BE49-F238E27FC236}">
                <a16:creationId xmlns:a16="http://schemas.microsoft.com/office/drawing/2014/main" id="{69BF543C-EA24-7F01-332C-DF4CE014DFF4}"/>
              </a:ext>
            </a:extLst>
          </p:cNvPr>
          <p:cNvSpPr>
            <a:spLocks noGrp="1"/>
          </p:cNvSpPr>
          <p:nvPr>
            <p:ph type="body" sz="quarter" idx="13" hasCustomPrompt="1"/>
          </p:nvPr>
        </p:nvSpPr>
        <p:spPr>
          <a:xfrm>
            <a:off x="918209" y="2758477"/>
            <a:ext cx="4947300" cy="458313"/>
          </a:xfrm>
        </p:spPr>
        <p:txBody>
          <a:bodyPr/>
          <a:lstStyle>
            <a:lvl1pPr>
              <a:buNone/>
              <a:defRPr>
                <a:solidFill>
                  <a:srgbClr val="2DB035"/>
                </a:solidFill>
              </a:defRPr>
            </a:lvl1pPr>
          </a:lstStyle>
          <a:p>
            <a:pPr lvl="0"/>
            <a:r>
              <a:rPr lang="en-US" dirty="0"/>
              <a:t>Title</a:t>
            </a:r>
          </a:p>
        </p:txBody>
      </p:sp>
      <p:sp>
        <p:nvSpPr>
          <p:cNvPr id="12" name="Text Placeholder 20">
            <a:extLst>
              <a:ext uri="{FF2B5EF4-FFF2-40B4-BE49-F238E27FC236}">
                <a16:creationId xmlns:a16="http://schemas.microsoft.com/office/drawing/2014/main" id="{409F1057-5B0E-C724-99EF-972A480FAA9F}"/>
              </a:ext>
            </a:extLst>
          </p:cNvPr>
          <p:cNvSpPr>
            <a:spLocks noGrp="1"/>
          </p:cNvSpPr>
          <p:nvPr>
            <p:ph type="body" sz="quarter" idx="15" hasCustomPrompt="1"/>
          </p:nvPr>
        </p:nvSpPr>
        <p:spPr>
          <a:xfrm>
            <a:off x="6244847" y="2758477"/>
            <a:ext cx="5036764" cy="458313"/>
          </a:xfrm>
        </p:spPr>
        <p:txBody>
          <a:bodyPr/>
          <a:lstStyle>
            <a:lvl1pPr>
              <a:buNone/>
              <a:defRPr>
                <a:solidFill>
                  <a:srgbClr val="2DB035"/>
                </a:solidFill>
              </a:defRPr>
            </a:lvl1pPr>
          </a:lstStyle>
          <a:p>
            <a:pPr lvl="0"/>
            <a:r>
              <a:rPr lang="en-US" dirty="0"/>
              <a:t>Title</a:t>
            </a:r>
          </a:p>
        </p:txBody>
      </p:sp>
      <p:sp>
        <p:nvSpPr>
          <p:cNvPr id="13" name="Text Placeholder 17">
            <a:extLst>
              <a:ext uri="{FF2B5EF4-FFF2-40B4-BE49-F238E27FC236}">
                <a16:creationId xmlns:a16="http://schemas.microsoft.com/office/drawing/2014/main" id="{3FC4932B-30E0-796A-3EE0-DCB54BD12042}"/>
              </a:ext>
            </a:extLst>
          </p:cNvPr>
          <p:cNvSpPr>
            <a:spLocks noGrp="1"/>
          </p:cNvSpPr>
          <p:nvPr>
            <p:ph type="body" sz="quarter" idx="19" hasCustomPrompt="1"/>
          </p:nvPr>
        </p:nvSpPr>
        <p:spPr>
          <a:xfrm>
            <a:off x="918210" y="3344580"/>
            <a:ext cx="4947300" cy="2550610"/>
          </a:xfrm>
        </p:spPr>
        <p:txBody>
          <a:bodyPr>
            <a:noAutofit/>
          </a:bodyPr>
          <a:lstStyle>
            <a:lvl1pPr marL="285750" indent="-285750">
              <a:buFont typeface="Arial" panose="020B0604020202020204" pitchFamily="34" charset="0"/>
              <a:buChar char="•"/>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bullet point</a:t>
            </a:r>
            <a:endParaRPr lang="en-MX" dirty="0"/>
          </a:p>
        </p:txBody>
      </p:sp>
      <p:sp>
        <p:nvSpPr>
          <p:cNvPr id="14" name="Text Placeholder 17">
            <a:extLst>
              <a:ext uri="{FF2B5EF4-FFF2-40B4-BE49-F238E27FC236}">
                <a16:creationId xmlns:a16="http://schemas.microsoft.com/office/drawing/2014/main" id="{3D6143AE-F878-2197-22B3-72E7050F06CC}"/>
              </a:ext>
            </a:extLst>
          </p:cNvPr>
          <p:cNvSpPr>
            <a:spLocks noGrp="1"/>
          </p:cNvSpPr>
          <p:nvPr>
            <p:ph type="body" sz="quarter" idx="20" hasCustomPrompt="1"/>
          </p:nvPr>
        </p:nvSpPr>
        <p:spPr>
          <a:xfrm>
            <a:off x="6237027" y="3344580"/>
            <a:ext cx="5036764" cy="2550610"/>
          </a:xfrm>
        </p:spPr>
        <p:txBody>
          <a:bodyPr>
            <a:noAutofit/>
          </a:bodyPr>
          <a:lstStyle>
            <a:lvl1pPr marL="285750" indent="-285750">
              <a:buFont typeface="Arial" panose="020B0604020202020204" pitchFamily="34" charset="0"/>
              <a:buChar char="•"/>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bullet point</a:t>
            </a:r>
            <a:endParaRPr lang="en-MX" dirty="0"/>
          </a:p>
        </p:txBody>
      </p:sp>
    </p:spTree>
    <p:extLst>
      <p:ext uri="{BB962C8B-B14F-4D97-AF65-F5344CB8AC3E}">
        <p14:creationId xmlns:p14="http://schemas.microsoft.com/office/powerpoint/2010/main" val="529273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side_Text 2 Colums Box Title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5" name="Text Placeholder 17">
            <a:extLst>
              <a:ext uri="{FF2B5EF4-FFF2-40B4-BE49-F238E27FC236}">
                <a16:creationId xmlns:a16="http://schemas.microsoft.com/office/drawing/2014/main" id="{A42E0431-DAB0-764A-B9B3-B9A4D2CEB67E}"/>
              </a:ext>
            </a:extLst>
          </p:cNvPr>
          <p:cNvSpPr>
            <a:spLocks noGrp="1"/>
          </p:cNvSpPr>
          <p:nvPr>
            <p:ph type="body" sz="quarter" idx="19" hasCustomPrompt="1"/>
          </p:nvPr>
        </p:nvSpPr>
        <p:spPr>
          <a:xfrm>
            <a:off x="1059088" y="3091939"/>
            <a:ext cx="4738299" cy="28509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18" name="Text Placeholder 17">
            <a:extLst>
              <a:ext uri="{FF2B5EF4-FFF2-40B4-BE49-F238E27FC236}">
                <a16:creationId xmlns:a16="http://schemas.microsoft.com/office/drawing/2014/main" id="{7EE45648-F3C9-7843-A789-F4DCDD22B23F}"/>
              </a:ext>
            </a:extLst>
          </p:cNvPr>
          <p:cNvSpPr>
            <a:spLocks noGrp="1"/>
          </p:cNvSpPr>
          <p:nvPr>
            <p:ph type="body" sz="quarter" idx="20" hasCustomPrompt="1"/>
          </p:nvPr>
        </p:nvSpPr>
        <p:spPr>
          <a:xfrm>
            <a:off x="6381045" y="3039838"/>
            <a:ext cx="4738297" cy="2903762"/>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6" name="Picture 15" descr="A picture containing text, clipart&#10;&#10;Description automatically generated">
            <a:extLst>
              <a:ext uri="{FF2B5EF4-FFF2-40B4-BE49-F238E27FC236}">
                <a16:creationId xmlns:a16="http://schemas.microsoft.com/office/drawing/2014/main" id="{4657F5BA-4FA9-0F44-9D11-FA8D4B94C2B3}"/>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848D90FC-3EA3-CAA0-7301-94264A934FDF}"/>
              </a:ext>
            </a:extLst>
          </p:cNvPr>
          <p:cNvPicPr>
            <a:picLocks noChangeAspect="1"/>
          </p:cNvPicPr>
          <p:nvPr userDrawn="1"/>
        </p:nvPicPr>
        <p:blipFill>
          <a:blip r:embed="rId3"/>
          <a:stretch>
            <a:fillRect/>
          </a:stretch>
        </p:blipFill>
        <p:spPr>
          <a:xfrm>
            <a:off x="0" y="4722284"/>
            <a:ext cx="1790700" cy="2222500"/>
          </a:xfrm>
          <a:prstGeom prst="rect">
            <a:avLst/>
          </a:prstGeom>
        </p:spPr>
      </p:pic>
      <p:pic>
        <p:nvPicPr>
          <p:cNvPr id="13" name="Picture 12">
            <a:extLst>
              <a:ext uri="{FF2B5EF4-FFF2-40B4-BE49-F238E27FC236}">
                <a16:creationId xmlns:a16="http://schemas.microsoft.com/office/drawing/2014/main" id="{F7919B8F-4D6D-D150-F43F-B984E40AA8E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410012" y="3645233"/>
            <a:ext cx="241526" cy="241526"/>
          </a:xfrm>
          <a:prstGeom prst="rect">
            <a:avLst/>
          </a:prstGeom>
        </p:spPr>
      </p:pic>
      <p:pic>
        <p:nvPicPr>
          <p:cNvPr id="14" name="Picture 13">
            <a:extLst>
              <a:ext uri="{FF2B5EF4-FFF2-40B4-BE49-F238E27FC236}">
                <a16:creationId xmlns:a16="http://schemas.microsoft.com/office/drawing/2014/main" id="{72DCF37C-7AF8-C7D6-D5B9-4D50EA581EFA}"/>
              </a:ext>
            </a:extLst>
          </p:cNvPr>
          <p:cNvPicPr>
            <a:picLocks noChangeAspect="1"/>
          </p:cNvPicPr>
          <p:nvPr userDrawn="1"/>
        </p:nvPicPr>
        <p:blipFill>
          <a:blip r:embed="rId5"/>
          <a:stretch>
            <a:fillRect/>
          </a:stretch>
        </p:blipFill>
        <p:spPr>
          <a:xfrm>
            <a:off x="11340209" y="5124728"/>
            <a:ext cx="166220" cy="166220"/>
          </a:xfrm>
          <a:prstGeom prst="rect">
            <a:avLst/>
          </a:prstGeom>
        </p:spPr>
      </p:pic>
      <p:pic>
        <p:nvPicPr>
          <p:cNvPr id="19" name="Picture 18">
            <a:extLst>
              <a:ext uri="{FF2B5EF4-FFF2-40B4-BE49-F238E27FC236}">
                <a16:creationId xmlns:a16="http://schemas.microsoft.com/office/drawing/2014/main" id="{1F602575-48D7-9DD3-3AD6-4706182B20DE}"/>
              </a:ext>
            </a:extLst>
          </p:cNvPr>
          <p:cNvPicPr>
            <a:picLocks noChangeAspect="1"/>
          </p:cNvPicPr>
          <p:nvPr userDrawn="1"/>
        </p:nvPicPr>
        <p:blipFill>
          <a:blip r:embed="rId6"/>
          <a:stretch>
            <a:fillRect/>
          </a:stretch>
        </p:blipFill>
        <p:spPr>
          <a:xfrm>
            <a:off x="11546833" y="2280731"/>
            <a:ext cx="330200" cy="330200"/>
          </a:xfrm>
          <a:prstGeom prst="rect">
            <a:avLst/>
          </a:prstGeom>
        </p:spPr>
      </p:pic>
      <p:pic>
        <p:nvPicPr>
          <p:cNvPr id="20" name="Picture 19">
            <a:extLst>
              <a:ext uri="{FF2B5EF4-FFF2-40B4-BE49-F238E27FC236}">
                <a16:creationId xmlns:a16="http://schemas.microsoft.com/office/drawing/2014/main" id="{437B1375-FD2B-EA1A-9796-02E937CE301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31770" y="3881234"/>
            <a:ext cx="241526" cy="241526"/>
          </a:xfrm>
          <a:prstGeom prst="rect">
            <a:avLst/>
          </a:prstGeom>
        </p:spPr>
      </p:pic>
      <p:pic>
        <p:nvPicPr>
          <p:cNvPr id="25" name="Picture 24">
            <a:extLst>
              <a:ext uri="{FF2B5EF4-FFF2-40B4-BE49-F238E27FC236}">
                <a16:creationId xmlns:a16="http://schemas.microsoft.com/office/drawing/2014/main" id="{8E154358-1022-BC04-5CDB-954445043DA1}"/>
              </a:ext>
            </a:extLst>
          </p:cNvPr>
          <p:cNvPicPr>
            <a:picLocks noChangeAspect="1"/>
          </p:cNvPicPr>
          <p:nvPr userDrawn="1"/>
        </p:nvPicPr>
        <p:blipFill>
          <a:blip r:embed="rId6"/>
          <a:stretch>
            <a:fillRect/>
          </a:stretch>
        </p:blipFill>
        <p:spPr>
          <a:xfrm>
            <a:off x="552533" y="4803799"/>
            <a:ext cx="330200" cy="330200"/>
          </a:xfrm>
          <a:prstGeom prst="rect">
            <a:avLst/>
          </a:prstGeom>
        </p:spPr>
      </p:pic>
      <p:sp>
        <p:nvSpPr>
          <p:cNvPr id="23" name="Text Placeholder 20">
            <a:extLst>
              <a:ext uri="{FF2B5EF4-FFF2-40B4-BE49-F238E27FC236}">
                <a16:creationId xmlns:a16="http://schemas.microsoft.com/office/drawing/2014/main" id="{31CAA585-9185-C85C-E0E5-94EAC18993CE}"/>
              </a:ext>
            </a:extLst>
          </p:cNvPr>
          <p:cNvSpPr>
            <a:spLocks noGrp="1"/>
          </p:cNvSpPr>
          <p:nvPr>
            <p:ph type="body" sz="quarter" idx="17" hasCustomPrompt="1"/>
          </p:nvPr>
        </p:nvSpPr>
        <p:spPr>
          <a:xfrm>
            <a:off x="1059089" y="2089994"/>
            <a:ext cx="4739956" cy="730663"/>
          </a:xfrm>
          <a:prstGeom prst="roundRect">
            <a:avLst/>
          </a:prstGeom>
          <a:solidFill>
            <a:srgbClr val="41A928"/>
          </a:solidFill>
        </p:spPr>
        <p:txBody>
          <a:bodyPr anchor="ctr">
            <a:normAutofit/>
          </a:bodyPr>
          <a:lstStyle>
            <a:lvl1pPr algn="ctr">
              <a:buNone/>
              <a:defRPr sz="2500">
                <a:solidFill>
                  <a:schemeClr val="bg1"/>
                </a:solidFill>
              </a:defRPr>
            </a:lvl1pPr>
          </a:lstStyle>
          <a:p>
            <a:pPr lvl="0"/>
            <a:r>
              <a:rPr lang="en-US" dirty="0"/>
              <a:t>Title</a:t>
            </a:r>
          </a:p>
        </p:txBody>
      </p:sp>
      <p:sp>
        <p:nvSpPr>
          <p:cNvPr id="26" name="Text Placeholder 20">
            <a:extLst>
              <a:ext uri="{FF2B5EF4-FFF2-40B4-BE49-F238E27FC236}">
                <a16:creationId xmlns:a16="http://schemas.microsoft.com/office/drawing/2014/main" id="{8E504BDA-FD33-6F5F-3638-653C61A49756}"/>
              </a:ext>
            </a:extLst>
          </p:cNvPr>
          <p:cNvSpPr>
            <a:spLocks noGrp="1"/>
          </p:cNvSpPr>
          <p:nvPr>
            <p:ph type="body" sz="quarter" idx="21" hasCustomPrompt="1"/>
          </p:nvPr>
        </p:nvSpPr>
        <p:spPr>
          <a:xfrm>
            <a:off x="6359959" y="2089994"/>
            <a:ext cx="4739956" cy="730663"/>
          </a:xfrm>
          <a:prstGeom prst="roundRect">
            <a:avLst/>
          </a:prstGeom>
          <a:solidFill>
            <a:srgbClr val="41A928"/>
          </a:solidFill>
        </p:spPr>
        <p:txBody>
          <a:bodyPr anchor="ctr">
            <a:normAutofit/>
          </a:bodyPr>
          <a:lstStyle>
            <a:lvl1pPr algn="ctr">
              <a:buNone/>
              <a:defRPr sz="2500">
                <a:solidFill>
                  <a:schemeClr val="bg1"/>
                </a:solidFill>
              </a:defRPr>
            </a:lvl1pPr>
          </a:lstStyle>
          <a:p>
            <a:pPr lvl="0"/>
            <a:r>
              <a:rPr lang="en-US" dirty="0"/>
              <a:t>Title</a:t>
            </a:r>
          </a:p>
        </p:txBody>
      </p:sp>
    </p:spTree>
    <p:extLst>
      <p:ext uri="{BB962C8B-B14F-4D97-AF65-F5344CB8AC3E}">
        <p14:creationId xmlns:p14="http://schemas.microsoft.com/office/powerpoint/2010/main" val="1468860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nside_Text 2 Colums Box Titles Center">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23" name="Text Placeholder 17">
            <a:extLst>
              <a:ext uri="{FF2B5EF4-FFF2-40B4-BE49-F238E27FC236}">
                <a16:creationId xmlns:a16="http://schemas.microsoft.com/office/drawing/2014/main" id="{599AB7BF-A378-D146-8988-8A8A5F79DE8E}"/>
              </a:ext>
            </a:extLst>
          </p:cNvPr>
          <p:cNvSpPr>
            <a:spLocks noGrp="1"/>
          </p:cNvSpPr>
          <p:nvPr>
            <p:ph type="body" sz="quarter" idx="19" hasCustomPrompt="1"/>
          </p:nvPr>
        </p:nvSpPr>
        <p:spPr>
          <a:xfrm>
            <a:off x="1284609" y="3051333"/>
            <a:ext cx="4326153" cy="2811121"/>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33" name="Text Placeholder 17">
            <a:extLst>
              <a:ext uri="{FF2B5EF4-FFF2-40B4-BE49-F238E27FC236}">
                <a16:creationId xmlns:a16="http://schemas.microsoft.com/office/drawing/2014/main" id="{527F59F4-7379-3342-8CC1-20247A16FF17}"/>
              </a:ext>
            </a:extLst>
          </p:cNvPr>
          <p:cNvSpPr>
            <a:spLocks noGrp="1"/>
          </p:cNvSpPr>
          <p:nvPr>
            <p:ph type="body" sz="quarter" idx="20" hasCustomPrompt="1"/>
          </p:nvPr>
        </p:nvSpPr>
        <p:spPr>
          <a:xfrm>
            <a:off x="6455745" y="3051332"/>
            <a:ext cx="4326153" cy="2811121"/>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25" name="Picture 24" descr="A picture containing text, clipart&#10;&#10;Description automatically generated">
            <a:extLst>
              <a:ext uri="{FF2B5EF4-FFF2-40B4-BE49-F238E27FC236}">
                <a16:creationId xmlns:a16="http://schemas.microsoft.com/office/drawing/2014/main" id="{1625C8AC-89AF-1D4E-8355-0EDEFEF3E8FF}"/>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10" name="Picture 9" descr="Icon, arrow&#10;&#10;Description automatically generated with medium confidence">
            <a:extLst>
              <a:ext uri="{FF2B5EF4-FFF2-40B4-BE49-F238E27FC236}">
                <a16:creationId xmlns:a16="http://schemas.microsoft.com/office/drawing/2014/main" id="{1B6DA5A1-10FC-5E82-3B9A-F89B7029FA15}"/>
              </a:ext>
            </a:extLst>
          </p:cNvPr>
          <p:cNvPicPr>
            <a:picLocks noChangeAspect="1"/>
          </p:cNvPicPr>
          <p:nvPr userDrawn="1"/>
        </p:nvPicPr>
        <p:blipFill>
          <a:blip r:embed="rId3"/>
          <a:stretch>
            <a:fillRect/>
          </a:stretch>
        </p:blipFill>
        <p:spPr>
          <a:xfrm rot="10800000">
            <a:off x="-2" y="4532242"/>
            <a:ext cx="2539619" cy="2325757"/>
          </a:xfrm>
          <a:prstGeom prst="rect">
            <a:avLst/>
          </a:prstGeom>
        </p:spPr>
      </p:pic>
      <p:sp>
        <p:nvSpPr>
          <p:cNvPr id="13" name="Text Placeholder 20">
            <a:extLst>
              <a:ext uri="{FF2B5EF4-FFF2-40B4-BE49-F238E27FC236}">
                <a16:creationId xmlns:a16="http://schemas.microsoft.com/office/drawing/2014/main" id="{7C52363D-0973-A936-44C2-74823C560BDD}"/>
              </a:ext>
            </a:extLst>
          </p:cNvPr>
          <p:cNvSpPr>
            <a:spLocks noGrp="1"/>
          </p:cNvSpPr>
          <p:nvPr>
            <p:ph type="body" sz="quarter" idx="17" hasCustomPrompt="1"/>
          </p:nvPr>
        </p:nvSpPr>
        <p:spPr>
          <a:xfrm>
            <a:off x="1284609" y="2089994"/>
            <a:ext cx="4326153" cy="730663"/>
          </a:xfrm>
          <a:prstGeom prst="roundRect">
            <a:avLst/>
          </a:prstGeom>
          <a:solidFill>
            <a:srgbClr val="81D086"/>
          </a:solidFill>
        </p:spPr>
        <p:txBody>
          <a:bodyPr anchor="ctr">
            <a:normAutofit/>
          </a:bodyPr>
          <a:lstStyle>
            <a:lvl1pPr algn="ctr">
              <a:buNone/>
              <a:defRPr sz="2500">
                <a:solidFill>
                  <a:schemeClr val="tx1"/>
                </a:solidFill>
              </a:defRPr>
            </a:lvl1pPr>
          </a:lstStyle>
          <a:p>
            <a:pPr lvl="0"/>
            <a:r>
              <a:rPr lang="en-US" dirty="0"/>
              <a:t>Title</a:t>
            </a:r>
          </a:p>
        </p:txBody>
      </p:sp>
      <p:sp>
        <p:nvSpPr>
          <p:cNvPr id="14" name="Text Placeholder 20">
            <a:extLst>
              <a:ext uri="{FF2B5EF4-FFF2-40B4-BE49-F238E27FC236}">
                <a16:creationId xmlns:a16="http://schemas.microsoft.com/office/drawing/2014/main" id="{4A8B5952-647A-8D46-3447-2DE1808DD2F5}"/>
              </a:ext>
            </a:extLst>
          </p:cNvPr>
          <p:cNvSpPr>
            <a:spLocks noGrp="1"/>
          </p:cNvSpPr>
          <p:nvPr>
            <p:ph type="body" sz="quarter" idx="21" hasCustomPrompt="1"/>
          </p:nvPr>
        </p:nvSpPr>
        <p:spPr>
          <a:xfrm>
            <a:off x="6455745" y="2089994"/>
            <a:ext cx="4326153" cy="730663"/>
          </a:xfrm>
          <a:prstGeom prst="roundRect">
            <a:avLst/>
          </a:prstGeom>
          <a:solidFill>
            <a:srgbClr val="BFEAF1"/>
          </a:solidFill>
        </p:spPr>
        <p:txBody>
          <a:bodyPr anchor="ctr">
            <a:normAutofit/>
          </a:bodyPr>
          <a:lstStyle>
            <a:lvl1pPr algn="ctr">
              <a:buNone/>
              <a:defRPr sz="2500">
                <a:solidFill>
                  <a:schemeClr val="tx1"/>
                </a:solidFill>
              </a:defRPr>
            </a:lvl1pPr>
          </a:lstStyle>
          <a:p>
            <a:pPr lvl="0"/>
            <a:r>
              <a:rPr lang="en-US" dirty="0"/>
              <a:t>Title</a:t>
            </a:r>
          </a:p>
        </p:txBody>
      </p:sp>
    </p:spTree>
    <p:extLst>
      <p:ext uri="{BB962C8B-B14F-4D97-AF65-F5344CB8AC3E}">
        <p14:creationId xmlns:p14="http://schemas.microsoft.com/office/powerpoint/2010/main" val="5151116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nside_Text 3 Colums Box Titles">
    <p:spTree>
      <p:nvGrpSpPr>
        <p:cNvPr id="1" name=""/>
        <p:cNvGrpSpPr/>
        <p:nvPr/>
      </p:nvGrpSpPr>
      <p:grpSpPr>
        <a:xfrm>
          <a:off x="0" y="0"/>
          <a:ext cx="0" cy="0"/>
          <a:chOff x="0" y="0"/>
          <a:chExt cx="0" cy="0"/>
        </a:xfrm>
      </p:grpSpPr>
      <p:pic>
        <p:nvPicPr>
          <p:cNvPr id="3" name="Picture 2" descr="Icon&#10;&#10;Description automatically generated with low confidence">
            <a:extLst>
              <a:ext uri="{FF2B5EF4-FFF2-40B4-BE49-F238E27FC236}">
                <a16:creationId xmlns:a16="http://schemas.microsoft.com/office/drawing/2014/main" id="{A1A9EECC-A522-5E2C-3723-6634D21256E4}"/>
              </a:ext>
            </a:extLst>
          </p:cNvPr>
          <p:cNvPicPr>
            <a:picLocks noChangeAspect="1"/>
          </p:cNvPicPr>
          <p:nvPr userDrawn="1"/>
        </p:nvPicPr>
        <p:blipFill>
          <a:blip r:embed="rId2"/>
          <a:stretch>
            <a:fillRect/>
          </a:stretch>
        </p:blipFill>
        <p:spPr>
          <a:xfrm>
            <a:off x="0" y="4559300"/>
            <a:ext cx="2298700" cy="2298700"/>
          </a:xfrm>
          <a:prstGeom prst="rect">
            <a:avLst/>
          </a:prstGeom>
        </p:spPr>
      </p:pic>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6" name="Picture 25">
            <a:extLst>
              <a:ext uri="{FF2B5EF4-FFF2-40B4-BE49-F238E27FC236}">
                <a16:creationId xmlns:a16="http://schemas.microsoft.com/office/drawing/2014/main" id="{2523B0CD-90B6-7A4F-A7A6-D9D46B1BDD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8271" y="5571490"/>
            <a:ext cx="274320" cy="274320"/>
          </a:xfrm>
          <a:prstGeom prst="rect">
            <a:avLst/>
          </a:prstGeom>
        </p:spPr>
      </p:pic>
      <p:pic>
        <p:nvPicPr>
          <p:cNvPr id="29" name="Picture 28">
            <a:extLst>
              <a:ext uri="{FF2B5EF4-FFF2-40B4-BE49-F238E27FC236}">
                <a16:creationId xmlns:a16="http://schemas.microsoft.com/office/drawing/2014/main" id="{3D672C8D-926F-1B4B-B195-9E76DB5ABF8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56414" y="5045201"/>
            <a:ext cx="294449" cy="294449"/>
          </a:xfrm>
          <a:prstGeom prst="rect">
            <a:avLst/>
          </a:prstGeom>
        </p:spPr>
      </p:pic>
      <p:pic>
        <p:nvPicPr>
          <p:cNvPr id="18" name="Picture 17">
            <a:extLst>
              <a:ext uri="{FF2B5EF4-FFF2-40B4-BE49-F238E27FC236}">
                <a16:creationId xmlns:a16="http://schemas.microsoft.com/office/drawing/2014/main" id="{08A5C2FE-DF03-EE4A-ADCF-A74DAF0993EE}"/>
              </a:ext>
            </a:extLst>
          </p:cNvPr>
          <p:cNvPicPr>
            <a:picLocks noChangeAspect="1"/>
          </p:cNvPicPr>
          <p:nvPr userDrawn="1"/>
        </p:nvPicPr>
        <p:blipFill>
          <a:blip r:embed="rId4"/>
          <a:stretch>
            <a:fillRect/>
          </a:stretch>
        </p:blipFill>
        <p:spPr>
          <a:xfrm>
            <a:off x="11510560" y="3361384"/>
            <a:ext cx="390000" cy="390000"/>
          </a:xfrm>
          <a:prstGeom prst="rect">
            <a:avLst/>
          </a:prstGeom>
        </p:spPr>
      </p:pic>
      <p:pic>
        <p:nvPicPr>
          <p:cNvPr id="19" name="Picture 18">
            <a:extLst>
              <a:ext uri="{FF2B5EF4-FFF2-40B4-BE49-F238E27FC236}">
                <a16:creationId xmlns:a16="http://schemas.microsoft.com/office/drawing/2014/main" id="{B54F42C1-15AB-A345-99C0-1714EB3CCE8A}"/>
              </a:ext>
            </a:extLst>
          </p:cNvPr>
          <p:cNvPicPr>
            <a:picLocks noChangeAspect="1"/>
          </p:cNvPicPr>
          <p:nvPr userDrawn="1"/>
        </p:nvPicPr>
        <p:blipFill>
          <a:blip r:embed="rId5"/>
          <a:stretch>
            <a:fillRect/>
          </a:stretch>
        </p:blipFill>
        <p:spPr>
          <a:xfrm>
            <a:off x="11652059" y="2891224"/>
            <a:ext cx="201422" cy="201422"/>
          </a:xfrm>
          <a:prstGeom prst="rect">
            <a:avLst/>
          </a:prstGeom>
        </p:spPr>
      </p:pic>
      <p:pic>
        <p:nvPicPr>
          <p:cNvPr id="20" name="Picture 19">
            <a:extLst>
              <a:ext uri="{FF2B5EF4-FFF2-40B4-BE49-F238E27FC236}">
                <a16:creationId xmlns:a16="http://schemas.microsoft.com/office/drawing/2014/main" id="{F55B849A-9CF6-1043-8DE8-2EDD5B1C584D}"/>
              </a:ext>
            </a:extLst>
          </p:cNvPr>
          <p:cNvPicPr>
            <a:picLocks noChangeAspect="1"/>
          </p:cNvPicPr>
          <p:nvPr userDrawn="1"/>
        </p:nvPicPr>
        <p:blipFill>
          <a:blip r:embed="rId5"/>
          <a:stretch>
            <a:fillRect/>
          </a:stretch>
        </p:blipFill>
        <p:spPr>
          <a:xfrm>
            <a:off x="2344071" y="6359679"/>
            <a:ext cx="371020" cy="371020"/>
          </a:xfrm>
          <a:prstGeom prst="rect">
            <a:avLst/>
          </a:prstGeom>
        </p:spPr>
      </p:pic>
      <p:sp>
        <p:nvSpPr>
          <p:cNvPr id="24" name="Text Placeholder 17">
            <a:extLst>
              <a:ext uri="{FF2B5EF4-FFF2-40B4-BE49-F238E27FC236}">
                <a16:creationId xmlns:a16="http://schemas.microsoft.com/office/drawing/2014/main" id="{853D48AB-526A-1042-AAFF-BEA05279D490}"/>
              </a:ext>
            </a:extLst>
          </p:cNvPr>
          <p:cNvSpPr>
            <a:spLocks noGrp="1"/>
          </p:cNvSpPr>
          <p:nvPr>
            <p:ph type="body" sz="quarter" idx="20" hasCustomPrompt="1"/>
          </p:nvPr>
        </p:nvSpPr>
        <p:spPr>
          <a:xfrm>
            <a:off x="1016792" y="2977504"/>
            <a:ext cx="2909136" cy="2362146"/>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33" name="Text Placeholder 17">
            <a:extLst>
              <a:ext uri="{FF2B5EF4-FFF2-40B4-BE49-F238E27FC236}">
                <a16:creationId xmlns:a16="http://schemas.microsoft.com/office/drawing/2014/main" id="{103EC0F7-C973-6740-99AD-EB985412CAA2}"/>
              </a:ext>
            </a:extLst>
          </p:cNvPr>
          <p:cNvSpPr>
            <a:spLocks noGrp="1"/>
          </p:cNvSpPr>
          <p:nvPr>
            <p:ph type="body" sz="quarter" idx="21" hasCustomPrompt="1"/>
          </p:nvPr>
        </p:nvSpPr>
        <p:spPr>
          <a:xfrm>
            <a:off x="4697252" y="2977504"/>
            <a:ext cx="2909136" cy="2362146"/>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37" name="Text Placeholder 17">
            <a:extLst>
              <a:ext uri="{FF2B5EF4-FFF2-40B4-BE49-F238E27FC236}">
                <a16:creationId xmlns:a16="http://schemas.microsoft.com/office/drawing/2014/main" id="{A7190F99-277F-944B-A315-51EDCE21EDB3}"/>
              </a:ext>
            </a:extLst>
          </p:cNvPr>
          <p:cNvSpPr>
            <a:spLocks noGrp="1"/>
          </p:cNvSpPr>
          <p:nvPr>
            <p:ph type="body" sz="quarter" idx="22" hasCustomPrompt="1"/>
          </p:nvPr>
        </p:nvSpPr>
        <p:spPr>
          <a:xfrm>
            <a:off x="8377712" y="2977504"/>
            <a:ext cx="2909136" cy="2362146"/>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21" name="Picture 20" descr="A picture containing text, clipart&#10;&#10;Description automatically generated">
            <a:extLst>
              <a:ext uri="{FF2B5EF4-FFF2-40B4-BE49-F238E27FC236}">
                <a16:creationId xmlns:a16="http://schemas.microsoft.com/office/drawing/2014/main" id="{DC3E53A6-F21D-FD48-9E85-E94F59DF1836}"/>
              </a:ext>
            </a:extLst>
          </p:cNvPr>
          <p:cNvPicPr>
            <a:picLocks noChangeAspect="1"/>
          </p:cNvPicPr>
          <p:nvPr userDrawn="1"/>
        </p:nvPicPr>
        <p:blipFill>
          <a:blip r:embed="rId6"/>
          <a:stretch>
            <a:fillRect/>
          </a:stretch>
        </p:blipFill>
        <p:spPr>
          <a:xfrm>
            <a:off x="10133703" y="6325250"/>
            <a:ext cx="1738361" cy="194422"/>
          </a:xfrm>
          <a:prstGeom prst="rect">
            <a:avLst/>
          </a:prstGeom>
        </p:spPr>
      </p:pic>
      <p:sp>
        <p:nvSpPr>
          <p:cNvPr id="22" name="Text Placeholder 20">
            <a:extLst>
              <a:ext uri="{FF2B5EF4-FFF2-40B4-BE49-F238E27FC236}">
                <a16:creationId xmlns:a16="http://schemas.microsoft.com/office/drawing/2014/main" id="{37EAB8E3-2C9C-CC03-7E8D-38B3CC5D9E22}"/>
              </a:ext>
            </a:extLst>
          </p:cNvPr>
          <p:cNvSpPr>
            <a:spLocks noGrp="1"/>
          </p:cNvSpPr>
          <p:nvPr>
            <p:ph type="body" sz="quarter" idx="25" hasCustomPrompt="1"/>
          </p:nvPr>
        </p:nvSpPr>
        <p:spPr>
          <a:xfrm>
            <a:off x="982025" y="2099347"/>
            <a:ext cx="2943904" cy="671169"/>
          </a:xfrm>
          <a:prstGeom prst="roundRect">
            <a:avLst/>
          </a:prstGeom>
          <a:solidFill>
            <a:srgbClr val="81D086"/>
          </a:solidFill>
        </p:spPr>
        <p:txBody>
          <a:bodyPr anchor="ctr">
            <a:normAutofit/>
          </a:bodyPr>
          <a:lstStyle>
            <a:lvl1pPr algn="ctr">
              <a:buNone/>
              <a:defRPr sz="2500">
                <a:solidFill>
                  <a:schemeClr val="tx1"/>
                </a:solidFill>
              </a:defRPr>
            </a:lvl1pPr>
          </a:lstStyle>
          <a:p>
            <a:pPr lvl="0"/>
            <a:r>
              <a:rPr lang="en-US" dirty="0"/>
              <a:t>Title</a:t>
            </a:r>
          </a:p>
        </p:txBody>
      </p:sp>
      <p:sp>
        <p:nvSpPr>
          <p:cNvPr id="25" name="Text Placeholder 20">
            <a:extLst>
              <a:ext uri="{FF2B5EF4-FFF2-40B4-BE49-F238E27FC236}">
                <a16:creationId xmlns:a16="http://schemas.microsoft.com/office/drawing/2014/main" id="{31903B6A-6B9E-7E3E-9CF0-D5997DBC3CD2}"/>
              </a:ext>
            </a:extLst>
          </p:cNvPr>
          <p:cNvSpPr>
            <a:spLocks noGrp="1"/>
          </p:cNvSpPr>
          <p:nvPr>
            <p:ph type="body" sz="quarter" idx="26" hasCustomPrompt="1"/>
          </p:nvPr>
        </p:nvSpPr>
        <p:spPr>
          <a:xfrm>
            <a:off x="4639625" y="2099347"/>
            <a:ext cx="2943904" cy="671169"/>
          </a:xfrm>
          <a:prstGeom prst="roundRect">
            <a:avLst/>
          </a:prstGeom>
          <a:solidFill>
            <a:srgbClr val="81D086"/>
          </a:solidFill>
        </p:spPr>
        <p:txBody>
          <a:bodyPr anchor="ctr">
            <a:normAutofit/>
          </a:bodyPr>
          <a:lstStyle>
            <a:lvl1pPr algn="ctr">
              <a:buNone/>
              <a:defRPr sz="2500">
                <a:solidFill>
                  <a:schemeClr val="tx1"/>
                </a:solidFill>
              </a:defRPr>
            </a:lvl1pPr>
          </a:lstStyle>
          <a:p>
            <a:pPr lvl="0"/>
            <a:r>
              <a:rPr lang="en-US" dirty="0"/>
              <a:t>Title</a:t>
            </a:r>
          </a:p>
        </p:txBody>
      </p:sp>
      <p:sp>
        <p:nvSpPr>
          <p:cNvPr id="27" name="Text Placeholder 20">
            <a:extLst>
              <a:ext uri="{FF2B5EF4-FFF2-40B4-BE49-F238E27FC236}">
                <a16:creationId xmlns:a16="http://schemas.microsoft.com/office/drawing/2014/main" id="{33FE4BFF-53C7-4C56-1EA7-B167F284094E}"/>
              </a:ext>
            </a:extLst>
          </p:cNvPr>
          <p:cNvSpPr>
            <a:spLocks noGrp="1"/>
          </p:cNvSpPr>
          <p:nvPr>
            <p:ph type="body" sz="quarter" idx="27" hasCustomPrompt="1"/>
          </p:nvPr>
        </p:nvSpPr>
        <p:spPr>
          <a:xfrm>
            <a:off x="8331515" y="2099347"/>
            <a:ext cx="2943904" cy="671169"/>
          </a:xfrm>
          <a:prstGeom prst="roundRect">
            <a:avLst/>
          </a:prstGeom>
          <a:solidFill>
            <a:srgbClr val="81D086"/>
          </a:solidFill>
        </p:spPr>
        <p:txBody>
          <a:bodyPr anchor="ctr">
            <a:normAutofit/>
          </a:bodyPr>
          <a:lstStyle>
            <a:lvl1pPr algn="ctr">
              <a:buNone/>
              <a:defRPr sz="2500">
                <a:solidFill>
                  <a:schemeClr val="tx1"/>
                </a:solidFill>
              </a:defRPr>
            </a:lvl1pPr>
          </a:lstStyle>
          <a:p>
            <a:pPr lvl="0"/>
            <a:r>
              <a:rPr lang="en-US" dirty="0"/>
              <a:t>Title</a:t>
            </a:r>
          </a:p>
        </p:txBody>
      </p:sp>
    </p:spTree>
    <p:extLst>
      <p:ext uri="{BB962C8B-B14F-4D97-AF65-F5344CB8AC3E}">
        <p14:creationId xmlns:p14="http://schemas.microsoft.com/office/powerpoint/2010/main" val="3217214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4E70F3-E267-8848-A44F-74570C5C50D8}"/>
              </a:ext>
            </a:extLst>
          </p:cNvPr>
          <p:cNvSpPr>
            <a:spLocks noGrp="1"/>
          </p:cNvSpPr>
          <p:nvPr>
            <p:ph type="pic" sz="quarter" idx="10"/>
          </p:nvPr>
        </p:nvSpPr>
        <p:spPr>
          <a:xfrm>
            <a:off x="-63060" y="-42040"/>
            <a:ext cx="12296775" cy="6946900"/>
          </a:xfrm>
          <a:solidFill>
            <a:schemeClr val="bg2">
              <a:lumMod val="75000"/>
            </a:schemeClr>
          </a:solidFill>
        </p:spPr>
        <p:txBody>
          <a:bodyPr/>
          <a:lstStyle/>
          <a:p>
            <a:endParaRPr lang="en-MX"/>
          </a:p>
        </p:txBody>
      </p:sp>
      <p:pic>
        <p:nvPicPr>
          <p:cNvPr id="8" name="Picture 7" descr="A close up of a logo&#10;&#10;Description automatically generated">
            <a:extLst>
              <a:ext uri="{FF2B5EF4-FFF2-40B4-BE49-F238E27FC236}">
                <a16:creationId xmlns:a16="http://schemas.microsoft.com/office/drawing/2014/main" id="{2E96C40A-7842-204E-AAB2-91F29D880E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92012" y="328925"/>
            <a:ext cx="2044194" cy="228022"/>
          </a:xfrm>
          <a:prstGeom prst="rect">
            <a:avLst/>
          </a:prstGeom>
        </p:spPr>
      </p:pic>
      <p:pic>
        <p:nvPicPr>
          <p:cNvPr id="27" name="Picture 26">
            <a:extLst>
              <a:ext uri="{FF2B5EF4-FFF2-40B4-BE49-F238E27FC236}">
                <a16:creationId xmlns:a16="http://schemas.microsoft.com/office/drawing/2014/main" id="{B19B2B3B-8157-464C-8C8B-052E3C3A4C55}"/>
              </a:ext>
            </a:extLst>
          </p:cNvPr>
          <p:cNvPicPr>
            <a:picLocks noChangeAspect="1"/>
          </p:cNvPicPr>
          <p:nvPr userDrawn="1"/>
        </p:nvPicPr>
        <p:blipFill>
          <a:blip r:embed="rId3"/>
          <a:stretch>
            <a:fillRect/>
          </a:stretch>
        </p:blipFill>
        <p:spPr>
          <a:xfrm>
            <a:off x="5469508" y="5913618"/>
            <a:ext cx="435741" cy="435741"/>
          </a:xfrm>
          <a:prstGeom prst="rect">
            <a:avLst/>
          </a:prstGeom>
        </p:spPr>
      </p:pic>
      <p:pic>
        <p:nvPicPr>
          <p:cNvPr id="28" name="Picture 27">
            <a:extLst>
              <a:ext uri="{FF2B5EF4-FFF2-40B4-BE49-F238E27FC236}">
                <a16:creationId xmlns:a16="http://schemas.microsoft.com/office/drawing/2014/main" id="{40F1955A-E7D3-AF44-8A8B-74FC663AFBD5}"/>
              </a:ext>
            </a:extLst>
          </p:cNvPr>
          <p:cNvPicPr>
            <a:picLocks noChangeAspect="1"/>
          </p:cNvPicPr>
          <p:nvPr userDrawn="1"/>
        </p:nvPicPr>
        <p:blipFill>
          <a:blip r:embed="rId4"/>
          <a:stretch>
            <a:fillRect/>
          </a:stretch>
        </p:blipFill>
        <p:spPr>
          <a:xfrm>
            <a:off x="7167836" y="783271"/>
            <a:ext cx="483695" cy="483695"/>
          </a:xfrm>
          <a:prstGeom prst="rect">
            <a:avLst/>
          </a:prstGeom>
        </p:spPr>
      </p:pic>
      <p:pic>
        <p:nvPicPr>
          <p:cNvPr id="20" name="Picture 19" descr="A close up of a logo&#10;&#10;Description automatically generated">
            <a:extLst>
              <a:ext uri="{FF2B5EF4-FFF2-40B4-BE49-F238E27FC236}">
                <a16:creationId xmlns:a16="http://schemas.microsoft.com/office/drawing/2014/main" id="{18ADE7BC-C599-F147-BC47-BB0ABBB5CD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555" y="442936"/>
            <a:ext cx="2044194" cy="228022"/>
          </a:xfrm>
          <a:prstGeom prst="rect">
            <a:avLst/>
          </a:prstGeom>
        </p:spPr>
      </p:pic>
      <p:sp>
        <p:nvSpPr>
          <p:cNvPr id="21" name="Title 1">
            <a:extLst>
              <a:ext uri="{FF2B5EF4-FFF2-40B4-BE49-F238E27FC236}">
                <a16:creationId xmlns:a16="http://schemas.microsoft.com/office/drawing/2014/main" id="{321C4E2B-FE91-5A4E-94DB-C20832FC7887}"/>
              </a:ext>
            </a:extLst>
          </p:cNvPr>
          <p:cNvSpPr>
            <a:spLocks noGrp="1"/>
          </p:cNvSpPr>
          <p:nvPr>
            <p:ph type="ctrTitle" hasCustomPrompt="1"/>
          </p:nvPr>
        </p:nvSpPr>
        <p:spPr>
          <a:xfrm>
            <a:off x="453555" y="910999"/>
            <a:ext cx="4906548" cy="685800"/>
          </a:xfrm>
          <a:prstGeom prst="rect">
            <a:avLst/>
          </a:prstGeom>
        </p:spPr>
        <p:txBody>
          <a:bodyPr lIns="0" tIns="0" rIns="0" bIns="0" anchor="t" anchorCtr="0"/>
          <a:lstStyle>
            <a:lvl1pPr algn="l">
              <a:defRPr sz="5500">
                <a:solidFill>
                  <a:schemeClr val="bg1"/>
                </a:solidFill>
              </a:defRPr>
            </a:lvl1pPr>
          </a:lstStyle>
          <a:p>
            <a:r>
              <a:rPr lang="en-US" dirty="0"/>
              <a:t>Click to edit title</a:t>
            </a:r>
          </a:p>
        </p:txBody>
      </p:sp>
      <p:sp>
        <p:nvSpPr>
          <p:cNvPr id="22" name="Subtitle 2">
            <a:extLst>
              <a:ext uri="{FF2B5EF4-FFF2-40B4-BE49-F238E27FC236}">
                <a16:creationId xmlns:a16="http://schemas.microsoft.com/office/drawing/2014/main" id="{1DCC5A57-B089-7646-B053-97CA6F4BC329}"/>
              </a:ext>
            </a:extLst>
          </p:cNvPr>
          <p:cNvSpPr>
            <a:spLocks noGrp="1"/>
          </p:cNvSpPr>
          <p:nvPr>
            <p:ph type="subTitle" idx="1" hasCustomPrompt="1"/>
          </p:nvPr>
        </p:nvSpPr>
        <p:spPr>
          <a:xfrm>
            <a:off x="453555" y="1667065"/>
            <a:ext cx="4906548" cy="365760"/>
          </a:xfrm>
          <a:prstGeom prst="rect">
            <a:avLst/>
          </a:prstGeom>
        </p:spPr>
        <p:txBody>
          <a:bodyPr vert="horz" lIns="0" rIns="0" bIns="0" anchor="t" anchorCtr="0">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Tree>
    <p:extLst>
      <p:ext uri="{BB962C8B-B14F-4D97-AF65-F5344CB8AC3E}">
        <p14:creationId xmlns:p14="http://schemas.microsoft.com/office/powerpoint/2010/main" val="316012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side_Box Proces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F5BD40-79D5-4A48-BD5F-4AE46AB84D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3735654">
            <a:off x="6171087" y="4978851"/>
            <a:ext cx="469900" cy="673100"/>
          </a:xfrm>
          <a:prstGeom prst="rect">
            <a:avLst/>
          </a:prstGeom>
        </p:spPr>
      </p:pic>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5" name="Picture 24">
            <a:extLst>
              <a:ext uri="{FF2B5EF4-FFF2-40B4-BE49-F238E27FC236}">
                <a16:creationId xmlns:a16="http://schemas.microsoft.com/office/drawing/2014/main" id="{FE045EB5-F492-EC4A-BA9F-C38E7E5FAE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7161484">
            <a:off x="2944119" y="4498191"/>
            <a:ext cx="469900" cy="673100"/>
          </a:xfrm>
          <a:prstGeom prst="rect">
            <a:avLst/>
          </a:prstGeom>
        </p:spPr>
      </p:pic>
      <p:pic>
        <p:nvPicPr>
          <p:cNvPr id="30" name="Picture 29">
            <a:extLst>
              <a:ext uri="{FF2B5EF4-FFF2-40B4-BE49-F238E27FC236}">
                <a16:creationId xmlns:a16="http://schemas.microsoft.com/office/drawing/2014/main" id="{AD302989-CDA2-3941-BDAF-07AB580524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1964979">
            <a:off x="2158144" y="2891739"/>
            <a:ext cx="469900" cy="673100"/>
          </a:xfrm>
          <a:prstGeom prst="rect">
            <a:avLst/>
          </a:prstGeom>
        </p:spPr>
      </p:pic>
      <p:pic>
        <p:nvPicPr>
          <p:cNvPr id="31" name="Picture 30">
            <a:extLst>
              <a:ext uri="{FF2B5EF4-FFF2-40B4-BE49-F238E27FC236}">
                <a16:creationId xmlns:a16="http://schemas.microsoft.com/office/drawing/2014/main" id="{837118ED-3EA1-4A40-BC69-3D596FD7C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3874183">
            <a:off x="5559535" y="2146673"/>
            <a:ext cx="469900" cy="673100"/>
          </a:xfrm>
          <a:prstGeom prst="rect">
            <a:avLst/>
          </a:prstGeom>
        </p:spPr>
      </p:pic>
      <p:pic>
        <p:nvPicPr>
          <p:cNvPr id="32" name="Picture 31">
            <a:extLst>
              <a:ext uri="{FF2B5EF4-FFF2-40B4-BE49-F238E27FC236}">
                <a16:creationId xmlns:a16="http://schemas.microsoft.com/office/drawing/2014/main" id="{79A4F0BF-448D-A940-88CB-1D1E570033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7775870">
            <a:off x="9266423" y="2321561"/>
            <a:ext cx="469900" cy="673100"/>
          </a:xfrm>
          <a:prstGeom prst="rect">
            <a:avLst/>
          </a:prstGeom>
        </p:spPr>
      </p:pic>
      <p:pic>
        <p:nvPicPr>
          <p:cNvPr id="33" name="Picture 32">
            <a:extLst>
              <a:ext uri="{FF2B5EF4-FFF2-40B4-BE49-F238E27FC236}">
                <a16:creationId xmlns:a16="http://schemas.microsoft.com/office/drawing/2014/main" id="{6E378E30-818D-8444-9E85-A0FC88284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95599" y="3818241"/>
            <a:ext cx="469900" cy="673100"/>
          </a:xfrm>
          <a:prstGeom prst="rect">
            <a:avLst/>
          </a:prstGeom>
        </p:spPr>
      </p:pic>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55297" y="4742160"/>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95839" y="2055456"/>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91158" y="5378342"/>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4"/>
          <a:stretch>
            <a:fillRect/>
          </a:stretch>
        </p:blipFill>
        <p:spPr>
          <a:xfrm>
            <a:off x="865679" y="4580741"/>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4"/>
          <a:stretch>
            <a:fillRect/>
          </a:stretch>
        </p:blipFill>
        <p:spPr>
          <a:xfrm>
            <a:off x="10650900" y="2072591"/>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5"/>
          <a:stretch>
            <a:fillRect/>
          </a:stretch>
        </p:blipFill>
        <p:spPr>
          <a:xfrm>
            <a:off x="11333096" y="2527910"/>
            <a:ext cx="380030" cy="380030"/>
          </a:xfrm>
          <a:prstGeom prst="rect">
            <a:avLst/>
          </a:prstGeom>
        </p:spPr>
      </p:pic>
      <p:pic>
        <p:nvPicPr>
          <p:cNvPr id="28" name="Picture 27" descr="A picture containing text, clipart&#10;&#10;Description automatically generated">
            <a:extLst>
              <a:ext uri="{FF2B5EF4-FFF2-40B4-BE49-F238E27FC236}">
                <a16:creationId xmlns:a16="http://schemas.microsoft.com/office/drawing/2014/main" id="{DB61E18F-7AF4-8F4F-86AD-31EAC72AB7C6}"/>
              </a:ext>
            </a:extLst>
          </p:cNvPr>
          <p:cNvPicPr>
            <a:picLocks noChangeAspect="1"/>
          </p:cNvPicPr>
          <p:nvPr userDrawn="1"/>
        </p:nvPicPr>
        <p:blipFill>
          <a:blip r:embed="rId6"/>
          <a:stretch>
            <a:fillRect/>
          </a:stretch>
        </p:blipFill>
        <p:spPr>
          <a:xfrm>
            <a:off x="10133703" y="6325250"/>
            <a:ext cx="1738361" cy="194422"/>
          </a:xfrm>
          <a:prstGeom prst="rect">
            <a:avLst/>
          </a:prstGeom>
        </p:spPr>
      </p:pic>
      <p:sp>
        <p:nvSpPr>
          <p:cNvPr id="38" name="Text Placeholder 20">
            <a:extLst>
              <a:ext uri="{FF2B5EF4-FFF2-40B4-BE49-F238E27FC236}">
                <a16:creationId xmlns:a16="http://schemas.microsoft.com/office/drawing/2014/main" id="{F5950703-965E-7E18-FFFB-A012227A2607}"/>
              </a:ext>
            </a:extLst>
          </p:cNvPr>
          <p:cNvSpPr txBox="1">
            <a:spLocks/>
          </p:cNvSpPr>
          <p:nvPr userDrawn="1"/>
        </p:nvSpPr>
        <p:spPr>
          <a:xfrm>
            <a:off x="2779432" y="2094529"/>
            <a:ext cx="3020951" cy="837244"/>
          </a:xfrm>
          <a:prstGeom prst="roundRect">
            <a:avLst/>
          </a:prstGeom>
          <a:solidFill>
            <a:srgbClr val="81D086"/>
          </a:solidFill>
        </p:spPr>
        <p:txBody>
          <a:bodyPr vert="horz" lIns="91440" tIns="45720" rIns="91440" bIns="45720" rtlCol="0">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itle</a:t>
            </a:r>
          </a:p>
        </p:txBody>
      </p:sp>
      <p:sp>
        <p:nvSpPr>
          <p:cNvPr id="42" name="Text Placeholder 20">
            <a:extLst>
              <a:ext uri="{FF2B5EF4-FFF2-40B4-BE49-F238E27FC236}">
                <a16:creationId xmlns:a16="http://schemas.microsoft.com/office/drawing/2014/main" id="{2BB90DE5-0E8E-EE6B-B3CD-A8F2112AAF1F}"/>
              </a:ext>
            </a:extLst>
          </p:cNvPr>
          <p:cNvSpPr>
            <a:spLocks noGrp="1"/>
          </p:cNvSpPr>
          <p:nvPr>
            <p:ph type="body" sz="quarter" idx="17" hasCustomPrompt="1"/>
          </p:nvPr>
        </p:nvSpPr>
        <p:spPr>
          <a:xfrm>
            <a:off x="2779432" y="2088402"/>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43" name="Text Placeholder 20">
            <a:extLst>
              <a:ext uri="{FF2B5EF4-FFF2-40B4-BE49-F238E27FC236}">
                <a16:creationId xmlns:a16="http://schemas.microsoft.com/office/drawing/2014/main" id="{78F9113C-1291-1649-9B80-BABC41A09978}"/>
              </a:ext>
            </a:extLst>
          </p:cNvPr>
          <p:cNvSpPr>
            <a:spLocks noGrp="1"/>
          </p:cNvSpPr>
          <p:nvPr>
            <p:ph type="body" sz="quarter" idx="18" hasCustomPrompt="1"/>
          </p:nvPr>
        </p:nvSpPr>
        <p:spPr>
          <a:xfrm>
            <a:off x="882618" y="3429990"/>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4" name="Text Placeholder 20">
            <a:extLst>
              <a:ext uri="{FF2B5EF4-FFF2-40B4-BE49-F238E27FC236}">
                <a16:creationId xmlns:a16="http://schemas.microsoft.com/office/drawing/2014/main" id="{37615937-0609-A764-5C5F-C552FDB4740D}"/>
              </a:ext>
            </a:extLst>
          </p:cNvPr>
          <p:cNvSpPr>
            <a:spLocks noGrp="1"/>
          </p:cNvSpPr>
          <p:nvPr>
            <p:ph type="body" sz="quarter" idx="19" hasCustomPrompt="1"/>
          </p:nvPr>
        </p:nvSpPr>
        <p:spPr>
          <a:xfrm>
            <a:off x="6702193" y="4883428"/>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5" name="Text Placeholder 20">
            <a:extLst>
              <a:ext uri="{FF2B5EF4-FFF2-40B4-BE49-F238E27FC236}">
                <a16:creationId xmlns:a16="http://schemas.microsoft.com/office/drawing/2014/main" id="{638AD34F-2E31-C23E-5DF8-5EE87DCA772A}"/>
              </a:ext>
            </a:extLst>
          </p:cNvPr>
          <p:cNvSpPr>
            <a:spLocks noGrp="1"/>
          </p:cNvSpPr>
          <p:nvPr>
            <p:ph type="body" sz="quarter" idx="20" hasCustomPrompt="1"/>
          </p:nvPr>
        </p:nvSpPr>
        <p:spPr>
          <a:xfrm>
            <a:off x="6349568" y="2088402"/>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6" name="Text Placeholder 20">
            <a:extLst>
              <a:ext uri="{FF2B5EF4-FFF2-40B4-BE49-F238E27FC236}">
                <a16:creationId xmlns:a16="http://schemas.microsoft.com/office/drawing/2014/main" id="{CF80DA2E-6962-D5CB-1F57-19F28A5C10EC}"/>
              </a:ext>
            </a:extLst>
          </p:cNvPr>
          <p:cNvSpPr>
            <a:spLocks noGrp="1"/>
          </p:cNvSpPr>
          <p:nvPr>
            <p:ph type="body" sz="quarter" idx="21" hasCustomPrompt="1"/>
          </p:nvPr>
        </p:nvSpPr>
        <p:spPr>
          <a:xfrm>
            <a:off x="7915975" y="3177731"/>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47" name="Text Placeholder 20">
            <a:extLst>
              <a:ext uri="{FF2B5EF4-FFF2-40B4-BE49-F238E27FC236}">
                <a16:creationId xmlns:a16="http://schemas.microsoft.com/office/drawing/2014/main" id="{220272FB-2447-31BF-186D-CC4984CB295C}"/>
              </a:ext>
            </a:extLst>
          </p:cNvPr>
          <p:cNvSpPr>
            <a:spLocks noGrp="1"/>
          </p:cNvSpPr>
          <p:nvPr>
            <p:ph type="body" sz="quarter" idx="22" hasCustomPrompt="1"/>
          </p:nvPr>
        </p:nvSpPr>
        <p:spPr>
          <a:xfrm>
            <a:off x="2290288" y="4891104"/>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Tree>
    <p:extLst>
      <p:ext uri="{BB962C8B-B14F-4D97-AF65-F5344CB8AC3E}">
        <p14:creationId xmlns:p14="http://schemas.microsoft.com/office/powerpoint/2010/main" val="37382730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side_3 Boxes ">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50" name="Text Placeholder 20">
            <a:extLst>
              <a:ext uri="{FF2B5EF4-FFF2-40B4-BE49-F238E27FC236}">
                <a16:creationId xmlns:a16="http://schemas.microsoft.com/office/drawing/2014/main" id="{5472A12D-910F-5E4D-9765-6A269018CADA}"/>
              </a:ext>
            </a:extLst>
          </p:cNvPr>
          <p:cNvSpPr>
            <a:spLocks noGrp="1"/>
          </p:cNvSpPr>
          <p:nvPr>
            <p:ph type="body" sz="quarter" idx="13" hasCustomPrompt="1"/>
          </p:nvPr>
        </p:nvSpPr>
        <p:spPr>
          <a:xfrm>
            <a:off x="1401413" y="3429000"/>
            <a:ext cx="2775172" cy="2381763"/>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2681162"/>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5987233"/>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3"/>
          <a:stretch>
            <a:fillRect/>
          </a:stretch>
        </p:blipFill>
        <p:spPr>
          <a:xfrm>
            <a:off x="388921" y="5189632"/>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3"/>
          <a:stretch>
            <a:fillRect/>
          </a:stretch>
        </p:blipFill>
        <p:spPr>
          <a:xfrm>
            <a:off x="11021657" y="2462723"/>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4"/>
          <a:stretch>
            <a:fillRect/>
          </a:stretch>
        </p:blipFill>
        <p:spPr>
          <a:xfrm>
            <a:off x="11339642" y="3178778"/>
            <a:ext cx="380030" cy="380030"/>
          </a:xfrm>
          <a:prstGeom prst="rect">
            <a:avLst/>
          </a:prstGeom>
        </p:spPr>
      </p:pic>
      <p:sp>
        <p:nvSpPr>
          <p:cNvPr id="22" name="Text Placeholder 20">
            <a:extLst>
              <a:ext uri="{FF2B5EF4-FFF2-40B4-BE49-F238E27FC236}">
                <a16:creationId xmlns:a16="http://schemas.microsoft.com/office/drawing/2014/main" id="{2F255A97-6E3E-BE41-B680-79394E3FE399}"/>
              </a:ext>
            </a:extLst>
          </p:cNvPr>
          <p:cNvSpPr>
            <a:spLocks noGrp="1"/>
          </p:cNvSpPr>
          <p:nvPr>
            <p:ph type="body" sz="quarter" idx="14" hasCustomPrompt="1"/>
          </p:nvPr>
        </p:nvSpPr>
        <p:spPr>
          <a:xfrm>
            <a:off x="4589456" y="3429000"/>
            <a:ext cx="2775172" cy="2381763"/>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sp>
        <p:nvSpPr>
          <p:cNvPr id="23" name="Text Placeholder 20">
            <a:extLst>
              <a:ext uri="{FF2B5EF4-FFF2-40B4-BE49-F238E27FC236}">
                <a16:creationId xmlns:a16="http://schemas.microsoft.com/office/drawing/2014/main" id="{309CACC6-A88E-2345-9847-BF252628EE86}"/>
              </a:ext>
            </a:extLst>
          </p:cNvPr>
          <p:cNvSpPr>
            <a:spLocks noGrp="1"/>
          </p:cNvSpPr>
          <p:nvPr>
            <p:ph type="body" sz="quarter" idx="15" hasCustomPrompt="1"/>
          </p:nvPr>
        </p:nvSpPr>
        <p:spPr>
          <a:xfrm>
            <a:off x="7777499" y="3429000"/>
            <a:ext cx="2775172" cy="2381763"/>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24" name="Text Placeholder 20">
            <a:extLst>
              <a:ext uri="{FF2B5EF4-FFF2-40B4-BE49-F238E27FC236}">
                <a16:creationId xmlns:a16="http://schemas.microsoft.com/office/drawing/2014/main" id="{7D958D40-0F4F-7542-BE92-1BE55F1AAAC6}"/>
              </a:ext>
            </a:extLst>
          </p:cNvPr>
          <p:cNvSpPr>
            <a:spLocks noGrp="1"/>
          </p:cNvSpPr>
          <p:nvPr>
            <p:ph type="body" sz="quarter" idx="16" hasCustomPrompt="1"/>
          </p:nvPr>
        </p:nvSpPr>
        <p:spPr>
          <a:xfrm>
            <a:off x="1401414" y="2711257"/>
            <a:ext cx="9151258" cy="508000"/>
          </a:xfrm>
        </p:spPr>
        <p:txBody>
          <a:bodyPr/>
          <a:lstStyle>
            <a:lvl1pPr>
              <a:buNone/>
              <a:defRPr>
                <a:solidFill>
                  <a:srgbClr val="2DB035"/>
                </a:solidFill>
              </a:defRPr>
            </a:lvl1pPr>
          </a:lstStyle>
          <a:p>
            <a:pPr lvl="0"/>
            <a:r>
              <a:rPr lang="en-US" dirty="0"/>
              <a:t>Title</a:t>
            </a:r>
          </a:p>
        </p:txBody>
      </p:sp>
      <p:pic>
        <p:nvPicPr>
          <p:cNvPr id="14" name="Picture 13" descr="A picture containing text, clipart&#10;&#10;Description automatically generated">
            <a:extLst>
              <a:ext uri="{FF2B5EF4-FFF2-40B4-BE49-F238E27FC236}">
                <a16:creationId xmlns:a16="http://schemas.microsoft.com/office/drawing/2014/main" id="{7C24F58A-AB7B-2E40-8692-5F083A05F1D7}"/>
              </a:ext>
            </a:extLst>
          </p:cNvPr>
          <p:cNvPicPr>
            <a:picLocks noChangeAspect="1"/>
          </p:cNvPicPr>
          <p:nvPr userDrawn="1"/>
        </p:nvPicPr>
        <p:blipFill>
          <a:blip r:embed="rId5"/>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1750136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side_4 Boxes ">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67254" y="5705911"/>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721" y="3392021"/>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19951" y="4362199"/>
            <a:ext cx="294449" cy="294449"/>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3"/>
          <a:stretch>
            <a:fillRect/>
          </a:stretch>
        </p:blipFill>
        <p:spPr>
          <a:xfrm>
            <a:off x="10817883" y="4273115"/>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4"/>
          <a:stretch>
            <a:fillRect/>
          </a:stretch>
        </p:blipFill>
        <p:spPr>
          <a:xfrm>
            <a:off x="11375427" y="5208452"/>
            <a:ext cx="208534" cy="208534"/>
          </a:xfrm>
          <a:prstGeom prst="rect">
            <a:avLst/>
          </a:prstGeom>
        </p:spPr>
      </p:pic>
      <p:pic>
        <p:nvPicPr>
          <p:cNvPr id="49" name="Picture 48">
            <a:extLst>
              <a:ext uri="{FF2B5EF4-FFF2-40B4-BE49-F238E27FC236}">
                <a16:creationId xmlns:a16="http://schemas.microsoft.com/office/drawing/2014/main" id="{8BB34A7D-4483-F347-9DF3-4A70481D4E96}"/>
              </a:ext>
            </a:extLst>
          </p:cNvPr>
          <p:cNvPicPr>
            <a:picLocks noChangeAspect="1"/>
          </p:cNvPicPr>
          <p:nvPr userDrawn="1"/>
        </p:nvPicPr>
        <p:blipFill>
          <a:blip r:embed="rId4"/>
          <a:stretch>
            <a:fillRect/>
          </a:stretch>
        </p:blipFill>
        <p:spPr>
          <a:xfrm>
            <a:off x="1185423" y="3982169"/>
            <a:ext cx="380030" cy="380030"/>
          </a:xfrm>
          <a:prstGeom prst="rect">
            <a:avLst/>
          </a:prstGeom>
        </p:spPr>
      </p:pic>
      <p:sp>
        <p:nvSpPr>
          <p:cNvPr id="29" name="Text Placeholder 20">
            <a:extLst>
              <a:ext uri="{FF2B5EF4-FFF2-40B4-BE49-F238E27FC236}">
                <a16:creationId xmlns:a16="http://schemas.microsoft.com/office/drawing/2014/main" id="{0357DBC6-2883-0D4A-8D84-846561AC6842}"/>
              </a:ext>
            </a:extLst>
          </p:cNvPr>
          <p:cNvSpPr>
            <a:spLocks noGrp="1"/>
          </p:cNvSpPr>
          <p:nvPr>
            <p:ph type="body" sz="quarter" idx="13" hasCustomPrompt="1"/>
          </p:nvPr>
        </p:nvSpPr>
        <p:spPr>
          <a:xfrm>
            <a:off x="2092522" y="2645228"/>
            <a:ext cx="3808767" cy="1488829"/>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34" name="Text Placeholder 20">
            <a:extLst>
              <a:ext uri="{FF2B5EF4-FFF2-40B4-BE49-F238E27FC236}">
                <a16:creationId xmlns:a16="http://schemas.microsoft.com/office/drawing/2014/main" id="{B9237F98-E088-5B4A-9828-003C479E43FF}"/>
              </a:ext>
            </a:extLst>
          </p:cNvPr>
          <p:cNvSpPr>
            <a:spLocks noGrp="1"/>
          </p:cNvSpPr>
          <p:nvPr>
            <p:ph type="body" sz="quarter" idx="14" hasCustomPrompt="1"/>
          </p:nvPr>
        </p:nvSpPr>
        <p:spPr>
          <a:xfrm>
            <a:off x="6183818" y="2645227"/>
            <a:ext cx="3808767" cy="1488829"/>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sp>
        <p:nvSpPr>
          <p:cNvPr id="35" name="Text Placeholder 20">
            <a:extLst>
              <a:ext uri="{FF2B5EF4-FFF2-40B4-BE49-F238E27FC236}">
                <a16:creationId xmlns:a16="http://schemas.microsoft.com/office/drawing/2014/main" id="{0FD9D396-FD81-7A41-BD9D-96A50B732BA3}"/>
              </a:ext>
            </a:extLst>
          </p:cNvPr>
          <p:cNvSpPr>
            <a:spLocks noGrp="1"/>
          </p:cNvSpPr>
          <p:nvPr>
            <p:ph type="body" sz="quarter" idx="15" hasCustomPrompt="1"/>
          </p:nvPr>
        </p:nvSpPr>
        <p:spPr>
          <a:xfrm>
            <a:off x="2092522" y="4362200"/>
            <a:ext cx="3808767" cy="1920698"/>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36" name="Text Placeholder 20">
            <a:extLst>
              <a:ext uri="{FF2B5EF4-FFF2-40B4-BE49-F238E27FC236}">
                <a16:creationId xmlns:a16="http://schemas.microsoft.com/office/drawing/2014/main" id="{A688C742-02C7-C346-9FE7-454F42BF3464}"/>
              </a:ext>
            </a:extLst>
          </p:cNvPr>
          <p:cNvSpPr>
            <a:spLocks noGrp="1"/>
          </p:cNvSpPr>
          <p:nvPr>
            <p:ph type="body" sz="quarter" idx="16" hasCustomPrompt="1"/>
          </p:nvPr>
        </p:nvSpPr>
        <p:spPr>
          <a:xfrm>
            <a:off x="6183818" y="4362199"/>
            <a:ext cx="3808767" cy="1920698"/>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pic>
        <p:nvPicPr>
          <p:cNvPr id="14" name="Picture 13" descr="A picture containing text, clipart&#10;&#10;Description automatically generated">
            <a:extLst>
              <a:ext uri="{FF2B5EF4-FFF2-40B4-BE49-F238E27FC236}">
                <a16:creationId xmlns:a16="http://schemas.microsoft.com/office/drawing/2014/main" id="{BC945ECD-0F64-29F0-ED98-B4430B4949E3}"/>
              </a:ext>
            </a:extLst>
          </p:cNvPr>
          <p:cNvPicPr>
            <a:picLocks noChangeAspect="1"/>
          </p:cNvPicPr>
          <p:nvPr userDrawn="1"/>
        </p:nvPicPr>
        <p:blipFill>
          <a:blip r:embed="rId5"/>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17660819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nside_6 Boxes ">
    <p:spTree>
      <p:nvGrpSpPr>
        <p:cNvPr id="1" name=""/>
        <p:cNvGrpSpPr/>
        <p:nvPr/>
      </p:nvGrpSpPr>
      <p:grpSpPr>
        <a:xfrm>
          <a:off x="0" y="0"/>
          <a:ext cx="0" cy="0"/>
          <a:chOff x="0" y="0"/>
          <a:chExt cx="0" cy="0"/>
        </a:xfrm>
      </p:grpSpPr>
      <p:pic>
        <p:nvPicPr>
          <p:cNvPr id="3" name="Picture 2" descr="Arrow&#10;&#10;Description automatically generated with medium confidence">
            <a:extLst>
              <a:ext uri="{FF2B5EF4-FFF2-40B4-BE49-F238E27FC236}">
                <a16:creationId xmlns:a16="http://schemas.microsoft.com/office/drawing/2014/main" id="{4524A909-CFAC-07F3-9DF0-C5AC6A362B0A}"/>
              </a:ext>
            </a:extLst>
          </p:cNvPr>
          <p:cNvPicPr>
            <a:picLocks noChangeAspect="1"/>
          </p:cNvPicPr>
          <p:nvPr userDrawn="1"/>
        </p:nvPicPr>
        <p:blipFill>
          <a:blip r:embed="rId2"/>
          <a:stretch>
            <a:fillRect/>
          </a:stretch>
        </p:blipFill>
        <p:spPr>
          <a:xfrm>
            <a:off x="-799" y="4635500"/>
            <a:ext cx="1790700" cy="2222500"/>
          </a:xfrm>
          <a:prstGeom prst="rect">
            <a:avLst/>
          </a:prstGeom>
        </p:spPr>
      </p:pic>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88898" y="5238606"/>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4551" y="2605091"/>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64286" y="5373919"/>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4"/>
          <a:stretch>
            <a:fillRect/>
          </a:stretch>
        </p:blipFill>
        <p:spPr>
          <a:xfrm>
            <a:off x="938807" y="4576318"/>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4"/>
          <a:stretch>
            <a:fillRect/>
          </a:stretch>
        </p:blipFill>
        <p:spPr>
          <a:xfrm>
            <a:off x="10480898" y="1849584"/>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5"/>
          <a:stretch>
            <a:fillRect/>
          </a:stretch>
        </p:blipFill>
        <p:spPr>
          <a:xfrm>
            <a:off x="10290883" y="3656581"/>
            <a:ext cx="380030" cy="380030"/>
          </a:xfrm>
          <a:prstGeom prst="rect">
            <a:avLst/>
          </a:prstGeom>
        </p:spPr>
      </p:pic>
      <p:sp>
        <p:nvSpPr>
          <p:cNvPr id="22" name="Text Placeholder 20">
            <a:extLst>
              <a:ext uri="{FF2B5EF4-FFF2-40B4-BE49-F238E27FC236}">
                <a16:creationId xmlns:a16="http://schemas.microsoft.com/office/drawing/2014/main" id="{CE3F001A-110D-454C-A650-3F9A0FB75ACB}"/>
              </a:ext>
            </a:extLst>
          </p:cNvPr>
          <p:cNvSpPr>
            <a:spLocks noGrp="1"/>
          </p:cNvSpPr>
          <p:nvPr>
            <p:ph type="body" sz="quarter" idx="19" hasCustomPrompt="1"/>
          </p:nvPr>
        </p:nvSpPr>
        <p:spPr>
          <a:xfrm>
            <a:off x="2253049" y="1946299"/>
            <a:ext cx="3584729" cy="1059401"/>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25" name="Text Placeholder 20">
            <a:extLst>
              <a:ext uri="{FF2B5EF4-FFF2-40B4-BE49-F238E27FC236}">
                <a16:creationId xmlns:a16="http://schemas.microsoft.com/office/drawing/2014/main" id="{81FBB74C-8C2B-0C43-B496-33AB05858CB0}"/>
              </a:ext>
            </a:extLst>
          </p:cNvPr>
          <p:cNvSpPr>
            <a:spLocks noGrp="1"/>
          </p:cNvSpPr>
          <p:nvPr>
            <p:ph type="body" sz="quarter" idx="20" hasCustomPrompt="1"/>
          </p:nvPr>
        </p:nvSpPr>
        <p:spPr>
          <a:xfrm>
            <a:off x="2253049" y="3342421"/>
            <a:ext cx="3584729" cy="1059401"/>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29" name="Text Placeholder 20">
            <a:extLst>
              <a:ext uri="{FF2B5EF4-FFF2-40B4-BE49-F238E27FC236}">
                <a16:creationId xmlns:a16="http://schemas.microsoft.com/office/drawing/2014/main" id="{E9152065-0E9C-2B4B-9804-8B38C2CA6A5C}"/>
              </a:ext>
            </a:extLst>
          </p:cNvPr>
          <p:cNvSpPr>
            <a:spLocks noGrp="1"/>
          </p:cNvSpPr>
          <p:nvPr>
            <p:ph type="body" sz="quarter" idx="21" hasCustomPrompt="1"/>
          </p:nvPr>
        </p:nvSpPr>
        <p:spPr>
          <a:xfrm>
            <a:off x="2253049" y="4708905"/>
            <a:ext cx="3584729" cy="1059401"/>
          </a:xfrm>
          <a:prstGeom prst="roundRect">
            <a:avLst/>
          </a:prstGeom>
          <a:solidFill>
            <a:srgbClr val="81D086"/>
          </a:solidFill>
        </p:spPr>
        <p:txBody>
          <a:bodyPr>
            <a:normAutofit/>
          </a:bodyPr>
          <a:lstStyle>
            <a:lvl1pPr algn="ctr">
              <a:buNone/>
              <a:defRPr sz="2200">
                <a:solidFill>
                  <a:schemeClr val="tx1"/>
                </a:solidFill>
              </a:defRPr>
            </a:lvl1pPr>
          </a:lstStyle>
          <a:p>
            <a:pPr lvl="0"/>
            <a:r>
              <a:rPr lang="en-US" dirty="0"/>
              <a:t>Feature</a:t>
            </a:r>
          </a:p>
        </p:txBody>
      </p:sp>
      <p:sp>
        <p:nvSpPr>
          <p:cNvPr id="35" name="Text Placeholder 20">
            <a:extLst>
              <a:ext uri="{FF2B5EF4-FFF2-40B4-BE49-F238E27FC236}">
                <a16:creationId xmlns:a16="http://schemas.microsoft.com/office/drawing/2014/main" id="{108A8494-08AF-F34B-8E7D-BDE548791ECB}"/>
              </a:ext>
            </a:extLst>
          </p:cNvPr>
          <p:cNvSpPr>
            <a:spLocks noGrp="1"/>
          </p:cNvSpPr>
          <p:nvPr>
            <p:ph type="body" sz="quarter" idx="22" hasCustomPrompt="1"/>
          </p:nvPr>
        </p:nvSpPr>
        <p:spPr>
          <a:xfrm>
            <a:off x="6096000" y="1946299"/>
            <a:ext cx="3584729" cy="1059401"/>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sp>
        <p:nvSpPr>
          <p:cNvPr id="37" name="Text Placeholder 20">
            <a:extLst>
              <a:ext uri="{FF2B5EF4-FFF2-40B4-BE49-F238E27FC236}">
                <a16:creationId xmlns:a16="http://schemas.microsoft.com/office/drawing/2014/main" id="{DA271234-DD39-AC4E-B33C-8F8AFAACAFF8}"/>
              </a:ext>
            </a:extLst>
          </p:cNvPr>
          <p:cNvSpPr>
            <a:spLocks noGrp="1"/>
          </p:cNvSpPr>
          <p:nvPr>
            <p:ph type="body" sz="quarter" idx="23" hasCustomPrompt="1"/>
          </p:nvPr>
        </p:nvSpPr>
        <p:spPr>
          <a:xfrm>
            <a:off x="6096000" y="3342421"/>
            <a:ext cx="3584729" cy="1059401"/>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sp>
        <p:nvSpPr>
          <p:cNvPr id="38" name="Text Placeholder 20">
            <a:extLst>
              <a:ext uri="{FF2B5EF4-FFF2-40B4-BE49-F238E27FC236}">
                <a16:creationId xmlns:a16="http://schemas.microsoft.com/office/drawing/2014/main" id="{8E1F2D58-83FC-1841-AB26-63B2842CA19E}"/>
              </a:ext>
            </a:extLst>
          </p:cNvPr>
          <p:cNvSpPr>
            <a:spLocks noGrp="1"/>
          </p:cNvSpPr>
          <p:nvPr>
            <p:ph type="body" sz="quarter" idx="24" hasCustomPrompt="1"/>
          </p:nvPr>
        </p:nvSpPr>
        <p:spPr>
          <a:xfrm>
            <a:off x="6096000" y="4708905"/>
            <a:ext cx="3584729" cy="1059401"/>
          </a:xfrm>
          <a:prstGeom prst="roundRect">
            <a:avLst/>
          </a:prstGeom>
          <a:solidFill>
            <a:srgbClr val="CAEBCC"/>
          </a:solidFill>
        </p:spPr>
        <p:txBody>
          <a:bodyPr>
            <a:normAutofit/>
          </a:bodyPr>
          <a:lstStyle>
            <a:lvl1pPr algn="ctr">
              <a:buNone/>
              <a:defRPr sz="2200">
                <a:solidFill>
                  <a:schemeClr val="tx1"/>
                </a:solidFill>
              </a:defRPr>
            </a:lvl1pPr>
          </a:lstStyle>
          <a:p>
            <a:pPr lvl="0"/>
            <a:r>
              <a:rPr lang="en-US" dirty="0"/>
              <a:t>Feature</a:t>
            </a:r>
          </a:p>
        </p:txBody>
      </p:sp>
      <p:pic>
        <p:nvPicPr>
          <p:cNvPr id="16" name="Picture 15" descr="A picture containing text, clipart&#10;&#10;Description automatically generated">
            <a:extLst>
              <a:ext uri="{FF2B5EF4-FFF2-40B4-BE49-F238E27FC236}">
                <a16:creationId xmlns:a16="http://schemas.microsoft.com/office/drawing/2014/main" id="{7A19C256-EABF-754C-84B2-2CFA3C9FD2B0}"/>
              </a:ext>
            </a:extLst>
          </p:cNvPr>
          <p:cNvPicPr>
            <a:picLocks noChangeAspect="1"/>
          </p:cNvPicPr>
          <p:nvPr userDrawn="1"/>
        </p:nvPicPr>
        <p:blipFill>
          <a:blip r:embed="rId6"/>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3334984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side_6 Boxe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3221568"/>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5987233"/>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3"/>
          <a:stretch>
            <a:fillRect/>
          </a:stretch>
        </p:blipFill>
        <p:spPr>
          <a:xfrm>
            <a:off x="388921" y="5189632"/>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3"/>
          <a:stretch>
            <a:fillRect/>
          </a:stretch>
        </p:blipFill>
        <p:spPr>
          <a:xfrm>
            <a:off x="11021657" y="2462723"/>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4"/>
          <a:stretch>
            <a:fillRect/>
          </a:stretch>
        </p:blipFill>
        <p:spPr>
          <a:xfrm>
            <a:off x="11339642" y="3178778"/>
            <a:ext cx="380030" cy="380030"/>
          </a:xfrm>
          <a:prstGeom prst="rect">
            <a:avLst/>
          </a:prstGeom>
        </p:spPr>
      </p:pic>
      <p:sp>
        <p:nvSpPr>
          <p:cNvPr id="29" name="Text Placeholder 20">
            <a:extLst>
              <a:ext uri="{FF2B5EF4-FFF2-40B4-BE49-F238E27FC236}">
                <a16:creationId xmlns:a16="http://schemas.microsoft.com/office/drawing/2014/main" id="{0BEAC342-6356-C249-BF52-8F2CD5BA6E31}"/>
              </a:ext>
            </a:extLst>
          </p:cNvPr>
          <p:cNvSpPr>
            <a:spLocks noGrp="1"/>
          </p:cNvSpPr>
          <p:nvPr>
            <p:ph type="body" sz="quarter" idx="13" hasCustomPrompt="1"/>
          </p:nvPr>
        </p:nvSpPr>
        <p:spPr>
          <a:xfrm>
            <a:off x="1416986" y="2571078"/>
            <a:ext cx="2775172" cy="1846350"/>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sp>
        <p:nvSpPr>
          <p:cNvPr id="30" name="Text Placeholder 20">
            <a:extLst>
              <a:ext uri="{FF2B5EF4-FFF2-40B4-BE49-F238E27FC236}">
                <a16:creationId xmlns:a16="http://schemas.microsoft.com/office/drawing/2014/main" id="{F91250F5-09FD-4448-803E-C5D36B86231C}"/>
              </a:ext>
            </a:extLst>
          </p:cNvPr>
          <p:cNvSpPr>
            <a:spLocks noGrp="1"/>
          </p:cNvSpPr>
          <p:nvPr>
            <p:ph type="body" sz="quarter" idx="16" hasCustomPrompt="1"/>
          </p:nvPr>
        </p:nvSpPr>
        <p:spPr>
          <a:xfrm>
            <a:off x="4357893" y="2571078"/>
            <a:ext cx="3332109" cy="1846350"/>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sp>
        <p:nvSpPr>
          <p:cNvPr id="31" name="Text Placeholder 20">
            <a:extLst>
              <a:ext uri="{FF2B5EF4-FFF2-40B4-BE49-F238E27FC236}">
                <a16:creationId xmlns:a16="http://schemas.microsoft.com/office/drawing/2014/main" id="{6AC836D7-A15E-5646-AC10-1BF7CDFD6E42}"/>
              </a:ext>
            </a:extLst>
          </p:cNvPr>
          <p:cNvSpPr>
            <a:spLocks noGrp="1"/>
          </p:cNvSpPr>
          <p:nvPr>
            <p:ph type="body" sz="quarter" idx="17" hasCustomPrompt="1"/>
          </p:nvPr>
        </p:nvSpPr>
        <p:spPr>
          <a:xfrm>
            <a:off x="7842499" y="2565823"/>
            <a:ext cx="2832133" cy="1816408"/>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sp>
        <p:nvSpPr>
          <p:cNvPr id="32" name="Text Placeholder 20">
            <a:extLst>
              <a:ext uri="{FF2B5EF4-FFF2-40B4-BE49-F238E27FC236}">
                <a16:creationId xmlns:a16="http://schemas.microsoft.com/office/drawing/2014/main" id="{E3B229FA-0743-CE41-808F-7C70F6440062}"/>
              </a:ext>
            </a:extLst>
          </p:cNvPr>
          <p:cNvSpPr>
            <a:spLocks noGrp="1"/>
          </p:cNvSpPr>
          <p:nvPr>
            <p:ph type="body" sz="quarter" idx="18" hasCustomPrompt="1"/>
          </p:nvPr>
        </p:nvSpPr>
        <p:spPr>
          <a:xfrm>
            <a:off x="1429343" y="4553882"/>
            <a:ext cx="2775172" cy="1516446"/>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sp>
        <p:nvSpPr>
          <p:cNvPr id="33" name="Text Placeholder 20">
            <a:extLst>
              <a:ext uri="{FF2B5EF4-FFF2-40B4-BE49-F238E27FC236}">
                <a16:creationId xmlns:a16="http://schemas.microsoft.com/office/drawing/2014/main" id="{94EB8425-9916-4F47-A9DE-02CA72A05FBD}"/>
              </a:ext>
            </a:extLst>
          </p:cNvPr>
          <p:cNvSpPr>
            <a:spLocks noGrp="1"/>
          </p:cNvSpPr>
          <p:nvPr>
            <p:ph type="body" sz="quarter" idx="19" hasCustomPrompt="1"/>
          </p:nvPr>
        </p:nvSpPr>
        <p:spPr>
          <a:xfrm>
            <a:off x="4370250" y="4553882"/>
            <a:ext cx="3332109" cy="1516446"/>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sp>
        <p:nvSpPr>
          <p:cNvPr id="34" name="Text Placeholder 20">
            <a:extLst>
              <a:ext uri="{FF2B5EF4-FFF2-40B4-BE49-F238E27FC236}">
                <a16:creationId xmlns:a16="http://schemas.microsoft.com/office/drawing/2014/main" id="{FDB30D4E-D37B-8E44-A628-E927FA10E6C4}"/>
              </a:ext>
            </a:extLst>
          </p:cNvPr>
          <p:cNvSpPr>
            <a:spLocks noGrp="1"/>
          </p:cNvSpPr>
          <p:nvPr>
            <p:ph type="body" sz="quarter" idx="20" hasCustomPrompt="1"/>
          </p:nvPr>
        </p:nvSpPr>
        <p:spPr>
          <a:xfrm>
            <a:off x="7854856" y="4553882"/>
            <a:ext cx="2832133" cy="1516446"/>
          </a:xfrm>
          <a:prstGeom prst="roundRect">
            <a:avLst/>
          </a:prstGeom>
          <a:solidFill>
            <a:srgbClr val="CAEBCC"/>
          </a:solidFill>
        </p:spPr>
        <p:txBody>
          <a:bodyPr>
            <a:normAutofit/>
          </a:bodyPr>
          <a:lstStyle>
            <a:lvl1pPr algn="ctr">
              <a:buNone/>
              <a:defRPr sz="1800">
                <a:solidFill>
                  <a:schemeClr val="tx1"/>
                </a:solidFill>
              </a:defRPr>
            </a:lvl1pPr>
          </a:lstStyle>
          <a:p>
            <a:pPr lvl="0"/>
            <a:r>
              <a:rPr lang="en-US" dirty="0"/>
              <a:t>Feature</a:t>
            </a:r>
          </a:p>
        </p:txBody>
      </p:sp>
      <p:pic>
        <p:nvPicPr>
          <p:cNvPr id="16" name="Picture 15" descr="A picture containing text, clipart&#10;&#10;Description automatically generated">
            <a:extLst>
              <a:ext uri="{FF2B5EF4-FFF2-40B4-BE49-F238E27FC236}">
                <a16:creationId xmlns:a16="http://schemas.microsoft.com/office/drawing/2014/main" id="{CD838828-30E6-1044-AD1A-517C743CD5DF}"/>
              </a:ext>
            </a:extLst>
          </p:cNvPr>
          <p:cNvPicPr>
            <a:picLocks noChangeAspect="1"/>
          </p:cNvPicPr>
          <p:nvPr userDrawn="1"/>
        </p:nvPicPr>
        <p:blipFill>
          <a:blip r:embed="rId5"/>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2565217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nside_8 Boxes ">
    <p:spTree>
      <p:nvGrpSpPr>
        <p:cNvPr id="1" name=""/>
        <p:cNvGrpSpPr/>
        <p:nvPr/>
      </p:nvGrpSpPr>
      <p:grpSpPr>
        <a:xfrm>
          <a:off x="0" y="0"/>
          <a:ext cx="0" cy="0"/>
          <a:chOff x="0" y="0"/>
          <a:chExt cx="0" cy="0"/>
        </a:xfrm>
      </p:grpSpPr>
      <p:pic>
        <p:nvPicPr>
          <p:cNvPr id="30" name="Picture 29" descr="Arrow&#10;&#10;Description automatically generated with medium confidence">
            <a:extLst>
              <a:ext uri="{FF2B5EF4-FFF2-40B4-BE49-F238E27FC236}">
                <a16:creationId xmlns:a16="http://schemas.microsoft.com/office/drawing/2014/main" id="{5D4DF4B5-F32A-404A-BD67-1A9D4D7C46B5}"/>
              </a:ext>
            </a:extLst>
          </p:cNvPr>
          <p:cNvPicPr>
            <a:picLocks noChangeAspect="1"/>
          </p:cNvPicPr>
          <p:nvPr userDrawn="1"/>
        </p:nvPicPr>
        <p:blipFill>
          <a:blip r:embed="rId2"/>
          <a:stretch>
            <a:fillRect/>
          </a:stretch>
        </p:blipFill>
        <p:spPr>
          <a:xfrm>
            <a:off x="-10524" y="4641597"/>
            <a:ext cx="1790700" cy="2222500"/>
          </a:xfrm>
          <a:prstGeom prst="rect">
            <a:avLst/>
          </a:prstGeom>
        </p:spPr>
      </p:pic>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55297" y="5124297"/>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89374" y="2598394"/>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01390" y="4977072"/>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4"/>
          <a:stretch>
            <a:fillRect/>
          </a:stretch>
        </p:blipFill>
        <p:spPr>
          <a:xfrm>
            <a:off x="1175911" y="4179471"/>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4"/>
          <a:stretch>
            <a:fillRect/>
          </a:stretch>
        </p:blipFill>
        <p:spPr>
          <a:xfrm>
            <a:off x="10650900" y="2454728"/>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5"/>
          <a:stretch>
            <a:fillRect/>
          </a:stretch>
        </p:blipFill>
        <p:spPr>
          <a:xfrm>
            <a:off x="11057105" y="3583479"/>
            <a:ext cx="380030" cy="380030"/>
          </a:xfrm>
          <a:prstGeom prst="rect">
            <a:avLst/>
          </a:prstGeom>
        </p:spPr>
      </p:pic>
      <p:pic>
        <p:nvPicPr>
          <p:cNvPr id="26" name="Picture 25" descr="A picture containing text, clipart&#10;&#10;Description automatically generated">
            <a:extLst>
              <a:ext uri="{FF2B5EF4-FFF2-40B4-BE49-F238E27FC236}">
                <a16:creationId xmlns:a16="http://schemas.microsoft.com/office/drawing/2014/main" id="{9D1DD880-1EBA-084C-810B-0A4E49A2431D}"/>
              </a:ext>
            </a:extLst>
          </p:cNvPr>
          <p:cNvPicPr>
            <a:picLocks noChangeAspect="1"/>
          </p:cNvPicPr>
          <p:nvPr userDrawn="1"/>
        </p:nvPicPr>
        <p:blipFill>
          <a:blip r:embed="rId6"/>
          <a:stretch>
            <a:fillRect/>
          </a:stretch>
        </p:blipFill>
        <p:spPr>
          <a:xfrm>
            <a:off x="10133703" y="6325250"/>
            <a:ext cx="1738361" cy="194422"/>
          </a:xfrm>
          <a:prstGeom prst="rect">
            <a:avLst/>
          </a:prstGeom>
        </p:spPr>
      </p:pic>
      <p:sp>
        <p:nvSpPr>
          <p:cNvPr id="31" name="Text Placeholder 20">
            <a:extLst>
              <a:ext uri="{FF2B5EF4-FFF2-40B4-BE49-F238E27FC236}">
                <a16:creationId xmlns:a16="http://schemas.microsoft.com/office/drawing/2014/main" id="{442CEA4F-5C5A-ED75-83DA-3BDD16B48C99}"/>
              </a:ext>
            </a:extLst>
          </p:cNvPr>
          <p:cNvSpPr>
            <a:spLocks noGrp="1"/>
          </p:cNvSpPr>
          <p:nvPr>
            <p:ph type="body" sz="quarter" idx="21" hasCustomPrompt="1"/>
          </p:nvPr>
        </p:nvSpPr>
        <p:spPr>
          <a:xfrm>
            <a:off x="6079392" y="1810856"/>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32" name="Text Placeholder 20">
            <a:extLst>
              <a:ext uri="{FF2B5EF4-FFF2-40B4-BE49-F238E27FC236}">
                <a16:creationId xmlns:a16="http://schemas.microsoft.com/office/drawing/2014/main" id="{05DB1005-E7B2-93E6-4255-BCC497F18433}"/>
              </a:ext>
            </a:extLst>
          </p:cNvPr>
          <p:cNvSpPr>
            <a:spLocks noGrp="1"/>
          </p:cNvSpPr>
          <p:nvPr>
            <p:ph type="body" sz="quarter" idx="22" hasCustomPrompt="1"/>
          </p:nvPr>
        </p:nvSpPr>
        <p:spPr>
          <a:xfrm>
            <a:off x="6079392" y="2868083"/>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33" name="Text Placeholder 20">
            <a:extLst>
              <a:ext uri="{FF2B5EF4-FFF2-40B4-BE49-F238E27FC236}">
                <a16:creationId xmlns:a16="http://schemas.microsoft.com/office/drawing/2014/main" id="{E817411A-4877-ED0C-F93C-533BDB4D3F19}"/>
              </a:ext>
            </a:extLst>
          </p:cNvPr>
          <p:cNvSpPr>
            <a:spLocks noGrp="1"/>
          </p:cNvSpPr>
          <p:nvPr>
            <p:ph type="body" sz="quarter" idx="23" hasCustomPrompt="1"/>
          </p:nvPr>
        </p:nvSpPr>
        <p:spPr>
          <a:xfrm>
            <a:off x="6079392" y="3925310"/>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39" name="Text Placeholder 20">
            <a:extLst>
              <a:ext uri="{FF2B5EF4-FFF2-40B4-BE49-F238E27FC236}">
                <a16:creationId xmlns:a16="http://schemas.microsoft.com/office/drawing/2014/main" id="{259AA800-D798-A672-9989-170AD6DD4A95}"/>
              </a:ext>
            </a:extLst>
          </p:cNvPr>
          <p:cNvSpPr>
            <a:spLocks noGrp="1"/>
          </p:cNvSpPr>
          <p:nvPr>
            <p:ph type="body" sz="quarter" idx="24" hasCustomPrompt="1"/>
          </p:nvPr>
        </p:nvSpPr>
        <p:spPr>
          <a:xfrm>
            <a:off x="6079392" y="4982537"/>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0" name="Text Placeholder 20">
            <a:extLst>
              <a:ext uri="{FF2B5EF4-FFF2-40B4-BE49-F238E27FC236}">
                <a16:creationId xmlns:a16="http://schemas.microsoft.com/office/drawing/2014/main" id="{3AC03EB5-EB85-8268-1418-1838FAD6D8ED}"/>
              </a:ext>
            </a:extLst>
          </p:cNvPr>
          <p:cNvSpPr>
            <a:spLocks noGrp="1"/>
          </p:cNvSpPr>
          <p:nvPr>
            <p:ph type="body" sz="quarter" idx="25" hasCustomPrompt="1"/>
          </p:nvPr>
        </p:nvSpPr>
        <p:spPr>
          <a:xfrm>
            <a:off x="2810412" y="1810856"/>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41" name="Text Placeholder 20">
            <a:extLst>
              <a:ext uri="{FF2B5EF4-FFF2-40B4-BE49-F238E27FC236}">
                <a16:creationId xmlns:a16="http://schemas.microsoft.com/office/drawing/2014/main" id="{C22C97A3-2B44-1609-36C8-AB9FE32F1BF5}"/>
              </a:ext>
            </a:extLst>
          </p:cNvPr>
          <p:cNvSpPr>
            <a:spLocks noGrp="1"/>
          </p:cNvSpPr>
          <p:nvPr>
            <p:ph type="body" sz="quarter" idx="26" hasCustomPrompt="1"/>
          </p:nvPr>
        </p:nvSpPr>
        <p:spPr>
          <a:xfrm>
            <a:off x="2810412" y="2868083"/>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2" name="Text Placeholder 20">
            <a:extLst>
              <a:ext uri="{FF2B5EF4-FFF2-40B4-BE49-F238E27FC236}">
                <a16:creationId xmlns:a16="http://schemas.microsoft.com/office/drawing/2014/main" id="{6CE4CD3C-0AA9-0C75-2E25-215492D588B8}"/>
              </a:ext>
            </a:extLst>
          </p:cNvPr>
          <p:cNvSpPr>
            <a:spLocks noGrp="1"/>
          </p:cNvSpPr>
          <p:nvPr>
            <p:ph type="body" sz="quarter" idx="27" hasCustomPrompt="1"/>
          </p:nvPr>
        </p:nvSpPr>
        <p:spPr>
          <a:xfrm>
            <a:off x="2810412" y="3925310"/>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43" name="Text Placeholder 20">
            <a:extLst>
              <a:ext uri="{FF2B5EF4-FFF2-40B4-BE49-F238E27FC236}">
                <a16:creationId xmlns:a16="http://schemas.microsoft.com/office/drawing/2014/main" id="{3261F0CC-D967-1A62-DF66-F2D353847C5A}"/>
              </a:ext>
            </a:extLst>
          </p:cNvPr>
          <p:cNvSpPr>
            <a:spLocks noGrp="1"/>
          </p:cNvSpPr>
          <p:nvPr>
            <p:ph type="body" sz="quarter" idx="28" hasCustomPrompt="1"/>
          </p:nvPr>
        </p:nvSpPr>
        <p:spPr>
          <a:xfrm>
            <a:off x="2810412" y="4982537"/>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44" name="Title 6">
            <a:extLst>
              <a:ext uri="{FF2B5EF4-FFF2-40B4-BE49-F238E27FC236}">
                <a16:creationId xmlns:a16="http://schemas.microsoft.com/office/drawing/2014/main" id="{68095265-1E91-A0DA-E37D-A2BFE40E0003}"/>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45" name="Text Placeholder 16">
            <a:extLst>
              <a:ext uri="{FF2B5EF4-FFF2-40B4-BE49-F238E27FC236}">
                <a16:creationId xmlns:a16="http://schemas.microsoft.com/office/drawing/2014/main" id="{AAD5913B-6A9F-C21A-6E50-5BF2BE06226D}"/>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Tree>
    <p:extLst>
      <p:ext uri="{BB962C8B-B14F-4D97-AF65-F5344CB8AC3E}">
        <p14:creationId xmlns:p14="http://schemas.microsoft.com/office/powerpoint/2010/main" val="1626746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de_Team Cards_1">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F7B2333-ADC8-00CD-3A00-3D8E9B81FB3A}"/>
              </a:ext>
            </a:extLst>
          </p:cNvPr>
          <p:cNvGrpSpPr/>
          <p:nvPr userDrawn="1"/>
        </p:nvGrpSpPr>
        <p:grpSpPr>
          <a:xfrm>
            <a:off x="1720579" y="2537718"/>
            <a:ext cx="3688651" cy="1501727"/>
            <a:chOff x="1720579" y="2537718"/>
            <a:chExt cx="3688651" cy="1501727"/>
          </a:xfrm>
        </p:grpSpPr>
        <p:grpSp>
          <p:nvGrpSpPr>
            <p:cNvPr id="3" name="Group 2">
              <a:extLst>
                <a:ext uri="{FF2B5EF4-FFF2-40B4-BE49-F238E27FC236}">
                  <a16:creationId xmlns:a16="http://schemas.microsoft.com/office/drawing/2014/main" id="{D57A8BBC-9F53-D24D-859B-5008E57C7EE6}"/>
                </a:ext>
              </a:extLst>
            </p:cNvPr>
            <p:cNvGrpSpPr/>
            <p:nvPr userDrawn="1"/>
          </p:nvGrpSpPr>
          <p:grpSpPr>
            <a:xfrm>
              <a:off x="1720579" y="2537718"/>
              <a:ext cx="3545213" cy="1501727"/>
              <a:chOff x="2151670" y="2537718"/>
              <a:chExt cx="3545213" cy="1501727"/>
            </a:xfrm>
          </p:grpSpPr>
          <p:sp>
            <p:nvSpPr>
              <p:cNvPr id="8" name="Rounded Rectangle 7">
                <a:extLst>
                  <a:ext uri="{FF2B5EF4-FFF2-40B4-BE49-F238E27FC236}">
                    <a16:creationId xmlns:a16="http://schemas.microsoft.com/office/drawing/2014/main" id="{8D10C052-B34D-B046-96FC-C5F040F5FB0A}"/>
                  </a:ext>
                </a:extLst>
              </p:cNvPr>
              <p:cNvSpPr/>
              <p:nvPr userDrawn="1"/>
            </p:nvSpPr>
            <p:spPr>
              <a:xfrm>
                <a:off x="2151670" y="2888509"/>
                <a:ext cx="3545213" cy="1150936"/>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C0B5DD34-2D3D-6F42-B9FF-EB028F1217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8722" y="2537718"/>
                <a:ext cx="263108" cy="263108"/>
              </a:xfrm>
              <a:prstGeom prst="rect">
                <a:avLst/>
              </a:prstGeom>
            </p:spPr>
          </p:pic>
        </p:grpSp>
        <p:pic>
          <p:nvPicPr>
            <p:cNvPr id="39" name="Picture 38">
              <a:extLst>
                <a:ext uri="{FF2B5EF4-FFF2-40B4-BE49-F238E27FC236}">
                  <a16:creationId xmlns:a16="http://schemas.microsoft.com/office/drawing/2014/main" id="{CFF3D4E9-4A43-D4A0-3FF6-70DB7321A60F}"/>
                </a:ext>
              </a:extLst>
            </p:cNvPr>
            <p:cNvPicPr>
              <a:picLocks noChangeAspect="1"/>
            </p:cNvPicPr>
            <p:nvPr userDrawn="1"/>
          </p:nvPicPr>
          <p:blipFill>
            <a:blip r:embed="rId3"/>
            <a:stretch>
              <a:fillRect/>
            </a:stretch>
          </p:blipFill>
          <p:spPr>
            <a:xfrm>
              <a:off x="5029200" y="2731276"/>
              <a:ext cx="380030" cy="380030"/>
            </a:xfrm>
            <a:prstGeom prst="rect">
              <a:avLst/>
            </a:prstGeom>
          </p:spPr>
        </p:pic>
      </p:grpSp>
      <p:sp>
        <p:nvSpPr>
          <p:cNvPr id="5" name="Title 6">
            <a:extLst>
              <a:ext uri="{FF2B5EF4-FFF2-40B4-BE49-F238E27FC236}">
                <a16:creationId xmlns:a16="http://schemas.microsoft.com/office/drawing/2014/main" id="{8D8CF1D5-E210-8E46-8D24-E99B85A89526}"/>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6" name="Text Placeholder 16">
            <a:extLst>
              <a:ext uri="{FF2B5EF4-FFF2-40B4-BE49-F238E27FC236}">
                <a16:creationId xmlns:a16="http://schemas.microsoft.com/office/drawing/2014/main" id="{438B0F32-63F1-4A4A-A7F7-68601156F39E}"/>
              </a:ext>
            </a:extLst>
          </p:cNvPr>
          <p:cNvSpPr>
            <a:spLocks noGrp="1"/>
          </p:cNvSpPr>
          <p:nvPr>
            <p:ph type="body" sz="quarter" idx="13" hasCustomPrompt="1"/>
          </p:nvPr>
        </p:nvSpPr>
        <p:spPr>
          <a:xfrm>
            <a:off x="914400" y="914400"/>
            <a:ext cx="10333038"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4" name="Picture Placeholder 7">
            <a:extLst>
              <a:ext uri="{FF2B5EF4-FFF2-40B4-BE49-F238E27FC236}">
                <a16:creationId xmlns:a16="http://schemas.microsoft.com/office/drawing/2014/main" id="{791D2B86-82E8-7C43-84A2-3FD4AC9F8881}"/>
              </a:ext>
            </a:extLst>
          </p:cNvPr>
          <p:cNvSpPr>
            <a:spLocks noGrp="1"/>
          </p:cNvSpPr>
          <p:nvPr>
            <p:ph type="pic" sz="quarter" idx="15" hasCustomPrompt="1"/>
          </p:nvPr>
        </p:nvSpPr>
        <p:spPr>
          <a:xfrm>
            <a:off x="914400" y="2603340"/>
            <a:ext cx="1612358" cy="1612359"/>
          </a:xfrm>
          <a:prstGeom prst="ellipse">
            <a:avLst/>
          </a:prstGeom>
        </p:spPr>
        <p:txBody>
          <a:bodyPr>
            <a:normAutofit/>
          </a:bodyPr>
          <a:lstStyle>
            <a:lvl1pPr>
              <a:defRPr sz="1400"/>
            </a:lvl1pPr>
          </a:lstStyle>
          <a:p>
            <a:r>
              <a:rPr lang="en-MX" dirty="0"/>
              <a:t>Click to add picture</a:t>
            </a:r>
          </a:p>
        </p:txBody>
      </p:sp>
      <p:sp>
        <p:nvSpPr>
          <p:cNvPr id="18" name="Text Placeholder 17">
            <a:extLst>
              <a:ext uri="{FF2B5EF4-FFF2-40B4-BE49-F238E27FC236}">
                <a16:creationId xmlns:a16="http://schemas.microsoft.com/office/drawing/2014/main" id="{CDB095A6-0A3B-A44B-9725-D4EAAD943CC8}"/>
              </a:ext>
            </a:extLst>
          </p:cNvPr>
          <p:cNvSpPr>
            <a:spLocks noGrp="1"/>
          </p:cNvSpPr>
          <p:nvPr>
            <p:ph type="body" sz="quarter" idx="19" hasCustomPrompt="1"/>
          </p:nvPr>
        </p:nvSpPr>
        <p:spPr>
          <a:xfrm>
            <a:off x="2674938" y="3063875"/>
            <a:ext cx="2354262"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38" name="Picture 37" descr="A picture containing text, clipart&#10;&#10;Description automatically generated">
            <a:extLst>
              <a:ext uri="{FF2B5EF4-FFF2-40B4-BE49-F238E27FC236}">
                <a16:creationId xmlns:a16="http://schemas.microsoft.com/office/drawing/2014/main" id="{AD559372-A690-2648-AB8D-A40DD05B0802}"/>
              </a:ext>
            </a:extLst>
          </p:cNvPr>
          <p:cNvPicPr>
            <a:picLocks noChangeAspect="1"/>
          </p:cNvPicPr>
          <p:nvPr userDrawn="1"/>
        </p:nvPicPr>
        <p:blipFill>
          <a:blip r:embed="rId4"/>
          <a:stretch>
            <a:fillRect/>
          </a:stretch>
        </p:blipFill>
        <p:spPr>
          <a:xfrm>
            <a:off x="10133703" y="6325250"/>
            <a:ext cx="1738361" cy="194422"/>
          </a:xfrm>
          <a:prstGeom prst="rect">
            <a:avLst/>
          </a:prstGeom>
        </p:spPr>
      </p:pic>
      <p:grpSp>
        <p:nvGrpSpPr>
          <p:cNvPr id="40" name="Group 39">
            <a:extLst>
              <a:ext uri="{FF2B5EF4-FFF2-40B4-BE49-F238E27FC236}">
                <a16:creationId xmlns:a16="http://schemas.microsoft.com/office/drawing/2014/main" id="{13AFA9B9-F6C4-A66E-54FB-6E09910DA24C}"/>
              </a:ext>
            </a:extLst>
          </p:cNvPr>
          <p:cNvGrpSpPr/>
          <p:nvPr userDrawn="1"/>
        </p:nvGrpSpPr>
        <p:grpSpPr>
          <a:xfrm>
            <a:off x="1720579" y="4476246"/>
            <a:ext cx="3688651" cy="1501727"/>
            <a:chOff x="1720579" y="2537718"/>
            <a:chExt cx="3688651" cy="1501727"/>
          </a:xfrm>
        </p:grpSpPr>
        <p:grpSp>
          <p:nvGrpSpPr>
            <p:cNvPr id="41" name="Group 40">
              <a:extLst>
                <a:ext uri="{FF2B5EF4-FFF2-40B4-BE49-F238E27FC236}">
                  <a16:creationId xmlns:a16="http://schemas.microsoft.com/office/drawing/2014/main" id="{128ED248-3242-DC15-737D-73091053CD87}"/>
                </a:ext>
              </a:extLst>
            </p:cNvPr>
            <p:cNvGrpSpPr/>
            <p:nvPr userDrawn="1"/>
          </p:nvGrpSpPr>
          <p:grpSpPr>
            <a:xfrm>
              <a:off x="1720579" y="2537718"/>
              <a:ext cx="3545213" cy="1501727"/>
              <a:chOff x="2151670" y="2537718"/>
              <a:chExt cx="3545213" cy="1501727"/>
            </a:xfrm>
          </p:grpSpPr>
          <p:sp>
            <p:nvSpPr>
              <p:cNvPr id="43" name="Rounded Rectangle 42">
                <a:extLst>
                  <a:ext uri="{FF2B5EF4-FFF2-40B4-BE49-F238E27FC236}">
                    <a16:creationId xmlns:a16="http://schemas.microsoft.com/office/drawing/2014/main" id="{9CDABC09-669F-7D6B-02E5-431D8787BF6E}"/>
                  </a:ext>
                </a:extLst>
              </p:cNvPr>
              <p:cNvSpPr/>
              <p:nvPr userDrawn="1"/>
            </p:nvSpPr>
            <p:spPr>
              <a:xfrm>
                <a:off x="2151670" y="2888509"/>
                <a:ext cx="3545213" cy="1150936"/>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4" name="Picture 43">
                <a:extLst>
                  <a:ext uri="{FF2B5EF4-FFF2-40B4-BE49-F238E27FC236}">
                    <a16:creationId xmlns:a16="http://schemas.microsoft.com/office/drawing/2014/main" id="{F0AD393F-BB76-F704-AA68-6752CCC1DA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8722" y="2537718"/>
                <a:ext cx="263108" cy="263108"/>
              </a:xfrm>
              <a:prstGeom prst="rect">
                <a:avLst/>
              </a:prstGeom>
            </p:spPr>
          </p:pic>
        </p:grpSp>
        <p:pic>
          <p:nvPicPr>
            <p:cNvPr id="42" name="Picture 41">
              <a:extLst>
                <a:ext uri="{FF2B5EF4-FFF2-40B4-BE49-F238E27FC236}">
                  <a16:creationId xmlns:a16="http://schemas.microsoft.com/office/drawing/2014/main" id="{9F993391-6725-6C9D-7C23-69A46A9AC2E8}"/>
                </a:ext>
              </a:extLst>
            </p:cNvPr>
            <p:cNvPicPr>
              <a:picLocks noChangeAspect="1"/>
            </p:cNvPicPr>
            <p:nvPr userDrawn="1"/>
          </p:nvPicPr>
          <p:blipFill>
            <a:blip r:embed="rId3"/>
            <a:stretch>
              <a:fillRect/>
            </a:stretch>
          </p:blipFill>
          <p:spPr>
            <a:xfrm>
              <a:off x="5029200" y="2731276"/>
              <a:ext cx="380030" cy="380030"/>
            </a:xfrm>
            <a:prstGeom prst="rect">
              <a:avLst/>
            </a:prstGeom>
          </p:spPr>
        </p:pic>
      </p:grpSp>
      <p:sp>
        <p:nvSpPr>
          <p:cNvPr id="45" name="Picture Placeholder 7">
            <a:extLst>
              <a:ext uri="{FF2B5EF4-FFF2-40B4-BE49-F238E27FC236}">
                <a16:creationId xmlns:a16="http://schemas.microsoft.com/office/drawing/2014/main" id="{4DE8BF73-956E-FEDA-0248-E66FE0245C8F}"/>
              </a:ext>
            </a:extLst>
          </p:cNvPr>
          <p:cNvSpPr>
            <a:spLocks noGrp="1"/>
          </p:cNvSpPr>
          <p:nvPr>
            <p:ph type="pic" sz="quarter" idx="20" hasCustomPrompt="1"/>
          </p:nvPr>
        </p:nvSpPr>
        <p:spPr>
          <a:xfrm>
            <a:off x="914400" y="4541868"/>
            <a:ext cx="1612358" cy="1612359"/>
          </a:xfrm>
          <a:prstGeom prst="ellipse">
            <a:avLst/>
          </a:prstGeom>
        </p:spPr>
        <p:txBody>
          <a:bodyPr>
            <a:normAutofit/>
          </a:bodyPr>
          <a:lstStyle>
            <a:lvl1pPr>
              <a:defRPr sz="1400"/>
            </a:lvl1pPr>
          </a:lstStyle>
          <a:p>
            <a:r>
              <a:rPr lang="en-MX" dirty="0"/>
              <a:t>Click to add picture</a:t>
            </a:r>
          </a:p>
        </p:txBody>
      </p:sp>
      <p:sp>
        <p:nvSpPr>
          <p:cNvPr id="46" name="Text Placeholder 17">
            <a:extLst>
              <a:ext uri="{FF2B5EF4-FFF2-40B4-BE49-F238E27FC236}">
                <a16:creationId xmlns:a16="http://schemas.microsoft.com/office/drawing/2014/main" id="{A360FB99-DEB8-1FED-98B7-995803114307}"/>
              </a:ext>
            </a:extLst>
          </p:cNvPr>
          <p:cNvSpPr>
            <a:spLocks noGrp="1"/>
          </p:cNvSpPr>
          <p:nvPr>
            <p:ph type="body" sz="quarter" idx="21" hasCustomPrompt="1"/>
          </p:nvPr>
        </p:nvSpPr>
        <p:spPr>
          <a:xfrm>
            <a:off x="2674938" y="5002403"/>
            <a:ext cx="2354262"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grpSp>
        <p:nvGrpSpPr>
          <p:cNvPr id="73" name="Group 72">
            <a:extLst>
              <a:ext uri="{FF2B5EF4-FFF2-40B4-BE49-F238E27FC236}">
                <a16:creationId xmlns:a16="http://schemas.microsoft.com/office/drawing/2014/main" id="{B385C9A0-B18E-CA86-FBFF-8FD53A244C3B}"/>
              </a:ext>
            </a:extLst>
          </p:cNvPr>
          <p:cNvGrpSpPr/>
          <p:nvPr userDrawn="1"/>
        </p:nvGrpSpPr>
        <p:grpSpPr>
          <a:xfrm>
            <a:off x="6803119" y="4476246"/>
            <a:ext cx="3688651" cy="1501727"/>
            <a:chOff x="1720579" y="2537718"/>
            <a:chExt cx="3688651" cy="1501727"/>
          </a:xfrm>
        </p:grpSpPr>
        <p:grpSp>
          <p:nvGrpSpPr>
            <p:cNvPr id="74" name="Group 73">
              <a:extLst>
                <a:ext uri="{FF2B5EF4-FFF2-40B4-BE49-F238E27FC236}">
                  <a16:creationId xmlns:a16="http://schemas.microsoft.com/office/drawing/2014/main" id="{BFE8A131-2C41-48CC-BEEB-CD472D80121B}"/>
                </a:ext>
              </a:extLst>
            </p:cNvPr>
            <p:cNvGrpSpPr/>
            <p:nvPr userDrawn="1"/>
          </p:nvGrpSpPr>
          <p:grpSpPr>
            <a:xfrm>
              <a:off x="1720579" y="2537718"/>
              <a:ext cx="3545213" cy="1501727"/>
              <a:chOff x="2151670" y="2537718"/>
              <a:chExt cx="3545213" cy="1501727"/>
            </a:xfrm>
          </p:grpSpPr>
          <p:sp>
            <p:nvSpPr>
              <p:cNvPr id="76" name="Rounded Rectangle 75">
                <a:extLst>
                  <a:ext uri="{FF2B5EF4-FFF2-40B4-BE49-F238E27FC236}">
                    <a16:creationId xmlns:a16="http://schemas.microsoft.com/office/drawing/2014/main" id="{D5DB6664-076A-86C6-2ED0-7D8F69DF102E}"/>
                  </a:ext>
                </a:extLst>
              </p:cNvPr>
              <p:cNvSpPr/>
              <p:nvPr userDrawn="1"/>
            </p:nvSpPr>
            <p:spPr>
              <a:xfrm>
                <a:off x="2151670" y="2888509"/>
                <a:ext cx="3545213" cy="1150936"/>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77" name="Picture 76">
                <a:extLst>
                  <a:ext uri="{FF2B5EF4-FFF2-40B4-BE49-F238E27FC236}">
                    <a16:creationId xmlns:a16="http://schemas.microsoft.com/office/drawing/2014/main" id="{2927953D-FD1A-9D55-B74F-AD5A1F9BC8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8722" y="2537718"/>
                <a:ext cx="263108" cy="263108"/>
              </a:xfrm>
              <a:prstGeom prst="rect">
                <a:avLst/>
              </a:prstGeom>
            </p:spPr>
          </p:pic>
        </p:grpSp>
        <p:pic>
          <p:nvPicPr>
            <p:cNvPr id="75" name="Picture 74">
              <a:extLst>
                <a:ext uri="{FF2B5EF4-FFF2-40B4-BE49-F238E27FC236}">
                  <a16:creationId xmlns:a16="http://schemas.microsoft.com/office/drawing/2014/main" id="{438512CA-0549-0CDE-440F-AAB08CB39F79}"/>
                </a:ext>
              </a:extLst>
            </p:cNvPr>
            <p:cNvPicPr>
              <a:picLocks noChangeAspect="1"/>
            </p:cNvPicPr>
            <p:nvPr userDrawn="1"/>
          </p:nvPicPr>
          <p:blipFill>
            <a:blip r:embed="rId3"/>
            <a:stretch>
              <a:fillRect/>
            </a:stretch>
          </p:blipFill>
          <p:spPr>
            <a:xfrm>
              <a:off x="5029200" y="2731276"/>
              <a:ext cx="380030" cy="380030"/>
            </a:xfrm>
            <a:prstGeom prst="rect">
              <a:avLst/>
            </a:prstGeom>
          </p:spPr>
        </p:pic>
      </p:grpSp>
      <p:sp>
        <p:nvSpPr>
          <p:cNvPr id="78" name="Picture Placeholder 7">
            <a:extLst>
              <a:ext uri="{FF2B5EF4-FFF2-40B4-BE49-F238E27FC236}">
                <a16:creationId xmlns:a16="http://schemas.microsoft.com/office/drawing/2014/main" id="{52B92342-951C-14FA-21B1-E8A97B352DEC}"/>
              </a:ext>
            </a:extLst>
          </p:cNvPr>
          <p:cNvSpPr>
            <a:spLocks noGrp="1"/>
          </p:cNvSpPr>
          <p:nvPr>
            <p:ph type="pic" sz="quarter" idx="22" hasCustomPrompt="1"/>
          </p:nvPr>
        </p:nvSpPr>
        <p:spPr>
          <a:xfrm>
            <a:off x="5996940" y="4541868"/>
            <a:ext cx="1612358" cy="1612359"/>
          </a:xfrm>
          <a:prstGeom prst="ellipse">
            <a:avLst/>
          </a:prstGeom>
        </p:spPr>
        <p:txBody>
          <a:bodyPr>
            <a:normAutofit/>
          </a:bodyPr>
          <a:lstStyle>
            <a:lvl1pPr>
              <a:defRPr sz="1400"/>
            </a:lvl1pPr>
          </a:lstStyle>
          <a:p>
            <a:r>
              <a:rPr lang="en-MX" dirty="0"/>
              <a:t>Click to add picture</a:t>
            </a:r>
          </a:p>
        </p:txBody>
      </p:sp>
      <p:sp>
        <p:nvSpPr>
          <p:cNvPr id="79" name="Text Placeholder 17">
            <a:extLst>
              <a:ext uri="{FF2B5EF4-FFF2-40B4-BE49-F238E27FC236}">
                <a16:creationId xmlns:a16="http://schemas.microsoft.com/office/drawing/2014/main" id="{E51EFEFC-0BEA-1AC6-2BCF-85893AC42B2F}"/>
              </a:ext>
            </a:extLst>
          </p:cNvPr>
          <p:cNvSpPr>
            <a:spLocks noGrp="1"/>
          </p:cNvSpPr>
          <p:nvPr>
            <p:ph type="body" sz="quarter" idx="23" hasCustomPrompt="1"/>
          </p:nvPr>
        </p:nvSpPr>
        <p:spPr>
          <a:xfrm>
            <a:off x="7757478" y="5002403"/>
            <a:ext cx="2354262"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grpSp>
        <p:nvGrpSpPr>
          <p:cNvPr id="80" name="Group 79">
            <a:extLst>
              <a:ext uri="{FF2B5EF4-FFF2-40B4-BE49-F238E27FC236}">
                <a16:creationId xmlns:a16="http://schemas.microsoft.com/office/drawing/2014/main" id="{EFDA60BE-188F-7CE8-EA45-53E6D0AC2ECA}"/>
              </a:ext>
            </a:extLst>
          </p:cNvPr>
          <p:cNvGrpSpPr/>
          <p:nvPr userDrawn="1"/>
        </p:nvGrpSpPr>
        <p:grpSpPr>
          <a:xfrm>
            <a:off x="6803119" y="2539557"/>
            <a:ext cx="3688651" cy="1501727"/>
            <a:chOff x="1720579" y="2537718"/>
            <a:chExt cx="3688651" cy="1501727"/>
          </a:xfrm>
        </p:grpSpPr>
        <p:grpSp>
          <p:nvGrpSpPr>
            <p:cNvPr id="81" name="Group 80">
              <a:extLst>
                <a:ext uri="{FF2B5EF4-FFF2-40B4-BE49-F238E27FC236}">
                  <a16:creationId xmlns:a16="http://schemas.microsoft.com/office/drawing/2014/main" id="{4FAED1E9-F25E-3189-D7C1-31E9564DEE4E}"/>
                </a:ext>
              </a:extLst>
            </p:cNvPr>
            <p:cNvGrpSpPr/>
            <p:nvPr userDrawn="1"/>
          </p:nvGrpSpPr>
          <p:grpSpPr>
            <a:xfrm>
              <a:off x="1720579" y="2537718"/>
              <a:ext cx="3545213" cy="1501727"/>
              <a:chOff x="2151670" y="2537718"/>
              <a:chExt cx="3545213" cy="1501727"/>
            </a:xfrm>
          </p:grpSpPr>
          <p:sp>
            <p:nvSpPr>
              <p:cNvPr id="83" name="Rounded Rectangle 82">
                <a:extLst>
                  <a:ext uri="{FF2B5EF4-FFF2-40B4-BE49-F238E27FC236}">
                    <a16:creationId xmlns:a16="http://schemas.microsoft.com/office/drawing/2014/main" id="{A2821A93-F93A-4D92-5E9C-09DBF340ED07}"/>
                  </a:ext>
                </a:extLst>
              </p:cNvPr>
              <p:cNvSpPr/>
              <p:nvPr userDrawn="1"/>
            </p:nvSpPr>
            <p:spPr>
              <a:xfrm>
                <a:off x="2151670" y="2888509"/>
                <a:ext cx="3545213" cy="1150936"/>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84" name="Picture 83">
                <a:extLst>
                  <a:ext uri="{FF2B5EF4-FFF2-40B4-BE49-F238E27FC236}">
                    <a16:creationId xmlns:a16="http://schemas.microsoft.com/office/drawing/2014/main" id="{21AD14D0-24B0-4A58-29CB-CDC9FA03C3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8722" y="2537718"/>
                <a:ext cx="263108" cy="263108"/>
              </a:xfrm>
              <a:prstGeom prst="rect">
                <a:avLst/>
              </a:prstGeom>
            </p:spPr>
          </p:pic>
        </p:grpSp>
        <p:pic>
          <p:nvPicPr>
            <p:cNvPr id="82" name="Picture 81">
              <a:extLst>
                <a:ext uri="{FF2B5EF4-FFF2-40B4-BE49-F238E27FC236}">
                  <a16:creationId xmlns:a16="http://schemas.microsoft.com/office/drawing/2014/main" id="{9221EE41-551E-388B-F9F0-0C9DDD42EE05}"/>
                </a:ext>
              </a:extLst>
            </p:cNvPr>
            <p:cNvPicPr>
              <a:picLocks noChangeAspect="1"/>
            </p:cNvPicPr>
            <p:nvPr userDrawn="1"/>
          </p:nvPicPr>
          <p:blipFill>
            <a:blip r:embed="rId3"/>
            <a:stretch>
              <a:fillRect/>
            </a:stretch>
          </p:blipFill>
          <p:spPr>
            <a:xfrm>
              <a:off x="5029200" y="2731276"/>
              <a:ext cx="380030" cy="380030"/>
            </a:xfrm>
            <a:prstGeom prst="rect">
              <a:avLst/>
            </a:prstGeom>
          </p:spPr>
        </p:pic>
      </p:grpSp>
      <p:sp>
        <p:nvSpPr>
          <p:cNvPr id="85" name="Picture Placeholder 7">
            <a:extLst>
              <a:ext uri="{FF2B5EF4-FFF2-40B4-BE49-F238E27FC236}">
                <a16:creationId xmlns:a16="http://schemas.microsoft.com/office/drawing/2014/main" id="{5985A378-357C-2DA8-8191-6E15B31E6D85}"/>
              </a:ext>
            </a:extLst>
          </p:cNvPr>
          <p:cNvSpPr>
            <a:spLocks noGrp="1"/>
          </p:cNvSpPr>
          <p:nvPr>
            <p:ph type="pic" sz="quarter" idx="24" hasCustomPrompt="1"/>
          </p:nvPr>
        </p:nvSpPr>
        <p:spPr>
          <a:xfrm>
            <a:off x="5996940" y="2605179"/>
            <a:ext cx="1612358" cy="1612359"/>
          </a:xfrm>
          <a:prstGeom prst="ellipse">
            <a:avLst/>
          </a:prstGeom>
        </p:spPr>
        <p:txBody>
          <a:bodyPr>
            <a:normAutofit/>
          </a:bodyPr>
          <a:lstStyle>
            <a:lvl1pPr>
              <a:defRPr sz="1400"/>
            </a:lvl1pPr>
          </a:lstStyle>
          <a:p>
            <a:r>
              <a:rPr lang="en-MX" dirty="0"/>
              <a:t>Click to add picture</a:t>
            </a:r>
          </a:p>
        </p:txBody>
      </p:sp>
      <p:sp>
        <p:nvSpPr>
          <p:cNvPr id="86" name="Text Placeholder 17">
            <a:extLst>
              <a:ext uri="{FF2B5EF4-FFF2-40B4-BE49-F238E27FC236}">
                <a16:creationId xmlns:a16="http://schemas.microsoft.com/office/drawing/2014/main" id="{B5E1B2F4-7051-6037-5C06-9BCDF27B8B79}"/>
              </a:ext>
            </a:extLst>
          </p:cNvPr>
          <p:cNvSpPr>
            <a:spLocks noGrp="1"/>
          </p:cNvSpPr>
          <p:nvPr>
            <p:ph type="body" sz="quarter" idx="25" hasCustomPrompt="1"/>
          </p:nvPr>
        </p:nvSpPr>
        <p:spPr>
          <a:xfrm>
            <a:off x="7757478" y="3065714"/>
            <a:ext cx="2354262"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Tree>
    <p:extLst>
      <p:ext uri="{BB962C8B-B14F-4D97-AF65-F5344CB8AC3E}">
        <p14:creationId xmlns:p14="http://schemas.microsoft.com/office/powerpoint/2010/main" val="1972315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side_Team Cards_2">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8D10C052-B34D-B046-96FC-C5F040F5FB0A}"/>
              </a:ext>
            </a:extLst>
          </p:cNvPr>
          <p:cNvSpPr/>
          <p:nvPr/>
        </p:nvSpPr>
        <p:spPr>
          <a:xfrm>
            <a:off x="1747615" y="2024772"/>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Title 6">
            <a:extLst>
              <a:ext uri="{FF2B5EF4-FFF2-40B4-BE49-F238E27FC236}">
                <a16:creationId xmlns:a16="http://schemas.microsoft.com/office/drawing/2014/main" id="{8D8CF1D5-E210-8E46-8D24-E99B85A89526}"/>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6" name="Text Placeholder 16">
            <a:extLst>
              <a:ext uri="{FF2B5EF4-FFF2-40B4-BE49-F238E27FC236}">
                <a16:creationId xmlns:a16="http://schemas.microsoft.com/office/drawing/2014/main" id="{438B0F32-63F1-4A4A-A7F7-68601156F39E}"/>
              </a:ext>
            </a:extLst>
          </p:cNvPr>
          <p:cNvSpPr>
            <a:spLocks noGrp="1"/>
          </p:cNvSpPr>
          <p:nvPr>
            <p:ph type="body" sz="quarter" idx="13" hasCustomPrompt="1"/>
          </p:nvPr>
        </p:nvSpPr>
        <p:spPr>
          <a:xfrm>
            <a:off x="914400" y="914400"/>
            <a:ext cx="10333038"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4" name="Picture Placeholder 7">
            <a:extLst>
              <a:ext uri="{FF2B5EF4-FFF2-40B4-BE49-F238E27FC236}">
                <a16:creationId xmlns:a16="http://schemas.microsoft.com/office/drawing/2014/main" id="{791D2B86-82E8-7C43-84A2-3FD4AC9F8881}"/>
              </a:ext>
            </a:extLst>
          </p:cNvPr>
          <p:cNvSpPr>
            <a:spLocks noGrp="1"/>
          </p:cNvSpPr>
          <p:nvPr>
            <p:ph type="pic" sz="quarter" idx="15" hasCustomPrompt="1"/>
          </p:nvPr>
        </p:nvSpPr>
        <p:spPr>
          <a:xfrm>
            <a:off x="914400" y="1926709"/>
            <a:ext cx="1213506" cy="1213507"/>
          </a:xfrm>
          <a:prstGeom prst="ellipse">
            <a:avLst/>
          </a:prstGeom>
        </p:spPr>
        <p:txBody>
          <a:bodyPr>
            <a:normAutofit/>
          </a:bodyPr>
          <a:lstStyle>
            <a:lvl1pPr>
              <a:defRPr sz="1200"/>
            </a:lvl1pPr>
          </a:lstStyle>
          <a:p>
            <a:r>
              <a:rPr lang="en-MX" dirty="0"/>
              <a:t>Click to add picture</a:t>
            </a:r>
          </a:p>
        </p:txBody>
      </p:sp>
      <p:sp>
        <p:nvSpPr>
          <p:cNvPr id="28" name="Text Placeholder 17">
            <a:extLst>
              <a:ext uri="{FF2B5EF4-FFF2-40B4-BE49-F238E27FC236}">
                <a16:creationId xmlns:a16="http://schemas.microsoft.com/office/drawing/2014/main" id="{3B3FE833-1659-AC42-BD42-EB76E43783FC}"/>
              </a:ext>
            </a:extLst>
          </p:cNvPr>
          <p:cNvSpPr>
            <a:spLocks noGrp="1"/>
          </p:cNvSpPr>
          <p:nvPr>
            <p:ph type="body" sz="quarter" idx="21" hasCustomPrompt="1"/>
          </p:nvPr>
        </p:nvSpPr>
        <p:spPr>
          <a:xfrm>
            <a:off x="2271014" y="2147080"/>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34" name="Picture 33" descr="A picture containing text, clipart&#10;&#10;Description automatically generated">
            <a:extLst>
              <a:ext uri="{FF2B5EF4-FFF2-40B4-BE49-F238E27FC236}">
                <a16:creationId xmlns:a16="http://schemas.microsoft.com/office/drawing/2014/main" id="{10C3C754-8A73-864F-9DF3-2ADC1F30DF63}"/>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35" name="Picture 34">
            <a:extLst>
              <a:ext uri="{FF2B5EF4-FFF2-40B4-BE49-F238E27FC236}">
                <a16:creationId xmlns:a16="http://schemas.microsoft.com/office/drawing/2014/main" id="{679A4EEA-DACD-7B54-75DD-281D76FA4445}"/>
              </a:ext>
            </a:extLst>
          </p:cNvPr>
          <p:cNvPicPr>
            <a:picLocks noChangeAspect="1"/>
          </p:cNvPicPr>
          <p:nvPr userDrawn="1"/>
        </p:nvPicPr>
        <p:blipFill>
          <a:blip r:embed="rId3"/>
          <a:stretch>
            <a:fillRect/>
          </a:stretch>
        </p:blipFill>
        <p:spPr>
          <a:xfrm>
            <a:off x="4749511" y="1926709"/>
            <a:ext cx="296556" cy="296556"/>
          </a:xfrm>
          <a:prstGeom prst="rect">
            <a:avLst/>
          </a:prstGeom>
        </p:spPr>
      </p:pic>
      <p:pic>
        <p:nvPicPr>
          <p:cNvPr id="36" name="Picture 35">
            <a:extLst>
              <a:ext uri="{FF2B5EF4-FFF2-40B4-BE49-F238E27FC236}">
                <a16:creationId xmlns:a16="http://schemas.microsoft.com/office/drawing/2014/main" id="{F9E17ED0-A1EB-7F19-7D82-85534A7E33BD}"/>
              </a:ext>
            </a:extLst>
          </p:cNvPr>
          <p:cNvPicPr>
            <a:picLocks noChangeAspect="1"/>
          </p:cNvPicPr>
          <p:nvPr userDrawn="1"/>
        </p:nvPicPr>
        <p:blipFill>
          <a:blip r:embed="rId3"/>
          <a:stretch>
            <a:fillRect/>
          </a:stretch>
        </p:blipFill>
        <p:spPr>
          <a:xfrm>
            <a:off x="4622222" y="1787903"/>
            <a:ext cx="175715" cy="175715"/>
          </a:xfrm>
          <a:prstGeom prst="rect">
            <a:avLst/>
          </a:prstGeom>
        </p:spPr>
      </p:pic>
      <p:sp>
        <p:nvSpPr>
          <p:cNvPr id="37" name="Rounded Rectangle 36">
            <a:extLst>
              <a:ext uri="{FF2B5EF4-FFF2-40B4-BE49-F238E27FC236}">
                <a16:creationId xmlns:a16="http://schemas.microsoft.com/office/drawing/2014/main" id="{FCB34D16-471A-DA33-3B43-782FF240E7F1}"/>
              </a:ext>
            </a:extLst>
          </p:cNvPr>
          <p:cNvSpPr/>
          <p:nvPr userDrawn="1"/>
        </p:nvSpPr>
        <p:spPr>
          <a:xfrm>
            <a:off x="1747615" y="3407523"/>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8" name="Picture Placeholder 7">
            <a:extLst>
              <a:ext uri="{FF2B5EF4-FFF2-40B4-BE49-F238E27FC236}">
                <a16:creationId xmlns:a16="http://schemas.microsoft.com/office/drawing/2014/main" id="{53C60224-94F7-785F-14C7-FE8B404135EB}"/>
              </a:ext>
            </a:extLst>
          </p:cNvPr>
          <p:cNvSpPr>
            <a:spLocks noGrp="1"/>
          </p:cNvSpPr>
          <p:nvPr>
            <p:ph type="pic" sz="quarter" idx="22" hasCustomPrompt="1"/>
          </p:nvPr>
        </p:nvSpPr>
        <p:spPr>
          <a:xfrm>
            <a:off x="914400" y="3309460"/>
            <a:ext cx="1213506" cy="1213507"/>
          </a:xfrm>
          <a:prstGeom prst="ellipse">
            <a:avLst/>
          </a:prstGeom>
        </p:spPr>
        <p:txBody>
          <a:bodyPr>
            <a:normAutofit/>
          </a:bodyPr>
          <a:lstStyle>
            <a:lvl1pPr>
              <a:defRPr sz="1200"/>
            </a:lvl1pPr>
          </a:lstStyle>
          <a:p>
            <a:r>
              <a:rPr lang="en-MX" dirty="0"/>
              <a:t>Click to add picture</a:t>
            </a:r>
          </a:p>
        </p:txBody>
      </p:sp>
      <p:sp>
        <p:nvSpPr>
          <p:cNvPr id="39" name="Text Placeholder 17">
            <a:extLst>
              <a:ext uri="{FF2B5EF4-FFF2-40B4-BE49-F238E27FC236}">
                <a16:creationId xmlns:a16="http://schemas.microsoft.com/office/drawing/2014/main" id="{4B903361-299F-EB02-7416-DB16F0FD71F9}"/>
              </a:ext>
            </a:extLst>
          </p:cNvPr>
          <p:cNvSpPr>
            <a:spLocks noGrp="1"/>
          </p:cNvSpPr>
          <p:nvPr>
            <p:ph type="body" sz="quarter" idx="23" hasCustomPrompt="1"/>
          </p:nvPr>
        </p:nvSpPr>
        <p:spPr>
          <a:xfrm>
            <a:off x="2271014" y="3529831"/>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40" name="Picture 39">
            <a:extLst>
              <a:ext uri="{FF2B5EF4-FFF2-40B4-BE49-F238E27FC236}">
                <a16:creationId xmlns:a16="http://schemas.microsoft.com/office/drawing/2014/main" id="{7FC1EFF3-03D6-0223-DD5A-626EE8863F0C}"/>
              </a:ext>
            </a:extLst>
          </p:cNvPr>
          <p:cNvPicPr>
            <a:picLocks noChangeAspect="1"/>
          </p:cNvPicPr>
          <p:nvPr userDrawn="1"/>
        </p:nvPicPr>
        <p:blipFill>
          <a:blip r:embed="rId3"/>
          <a:stretch>
            <a:fillRect/>
          </a:stretch>
        </p:blipFill>
        <p:spPr>
          <a:xfrm>
            <a:off x="4749511" y="3309460"/>
            <a:ext cx="296556" cy="296556"/>
          </a:xfrm>
          <a:prstGeom prst="rect">
            <a:avLst/>
          </a:prstGeom>
        </p:spPr>
      </p:pic>
      <p:pic>
        <p:nvPicPr>
          <p:cNvPr id="41" name="Picture 40">
            <a:extLst>
              <a:ext uri="{FF2B5EF4-FFF2-40B4-BE49-F238E27FC236}">
                <a16:creationId xmlns:a16="http://schemas.microsoft.com/office/drawing/2014/main" id="{C18350B1-2E3E-822A-DF64-34B06F6EAF9B}"/>
              </a:ext>
            </a:extLst>
          </p:cNvPr>
          <p:cNvPicPr>
            <a:picLocks noChangeAspect="1"/>
          </p:cNvPicPr>
          <p:nvPr userDrawn="1"/>
        </p:nvPicPr>
        <p:blipFill>
          <a:blip r:embed="rId3"/>
          <a:stretch>
            <a:fillRect/>
          </a:stretch>
        </p:blipFill>
        <p:spPr>
          <a:xfrm>
            <a:off x="4622222" y="3170654"/>
            <a:ext cx="175715" cy="175715"/>
          </a:xfrm>
          <a:prstGeom prst="rect">
            <a:avLst/>
          </a:prstGeom>
        </p:spPr>
      </p:pic>
      <p:sp>
        <p:nvSpPr>
          <p:cNvPr id="42" name="Rounded Rectangle 41">
            <a:extLst>
              <a:ext uri="{FF2B5EF4-FFF2-40B4-BE49-F238E27FC236}">
                <a16:creationId xmlns:a16="http://schemas.microsoft.com/office/drawing/2014/main" id="{78B86AF0-3C23-5E27-D460-A80A66C6D8A6}"/>
              </a:ext>
            </a:extLst>
          </p:cNvPr>
          <p:cNvSpPr/>
          <p:nvPr userDrawn="1"/>
        </p:nvSpPr>
        <p:spPr>
          <a:xfrm>
            <a:off x="1747615" y="4912937"/>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 name="Picture Placeholder 7">
            <a:extLst>
              <a:ext uri="{FF2B5EF4-FFF2-40B4-BE49-F238E27FC236}">
                <a16:creationId xmlns:a16="http://schemas.microsoft.com/office/drawing/2014/main" id="{6C5CCB65-106E-31F3-C428-484A66FA456C}"/>
              </a:ext>
            </a:extLst>
          </p:cNvPr>
          <p:cNvSpPr>
            <a:spLocks noGrp="1"/>
          </p:cNvSpPr>
          <p:nvPr>
            <p:ph type="pic" sz="quarter" idx="24" hasCustomPrompt="1"/>
          </p:nvPr>
        </p:nvSpPr>
        <p:spPr>
          <a:xfrm>
            <a:off x="914400" y="4814874"/>
            <a:ext cx="1213506" cy="1213507"/>
          </a:xfrm>
          <a:prstGeom prst="ellipse">
            <a:avLst/>
          </a:prstGeom>
        </p:spPr>
        <p:txBody>
          <a:bodyPr>
            <a:normAutofit/>
          </a:bodyPr>
          <a:lstStyle>
            <a:lvl1pPr>
              <a:defRPr sz="1200"/>
            </a:lvl1pPr>
          </a:lstStyle>
          <a:p>
            <a:r>
              <a:rPr lang="en-MX" dirty="0"/>
              <a:t>Click to add picture</a:t>
            </a:r>
          </a:p>
        </p:txBody>
      </p:sp>
      <p:sp>
        <p:nvSpPr>
          <p:cNvPr id="44" name="Text Placeholder 17">
            <a:extLst>
              <a:ext uri="{FF2B5EF4-FFF2-40B4-BE49-F238E27FC236}">
                <a16:creationId xmlns:a16="http://schemas.microsoft.com/office/drawing/2014/main" id="{6D933C66-E868-DEE7-E100-4B1EA943D915}"/>
              </a:ext>
            </a:extLst>
          </p:cNvPr>
          <p:cNvSpPr>
            <a:spLocks noGrp="1"/>
          </p:cNvSpPr>
          <p:nvPr>
            <p:ph type="body" sz="quarter" idx="25" hasCustomPrompt="1"/>
          </p:nvPr>
        </p:nvSpPr>
        <p:spPr>
          <a:xfrm>
            <a:off x="2271014" y="5035245"/>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45" name="Picture 44">
            <a:extLst>
              <a:ext uri="{FF2B5EF4-FFF2-40B4-BE49-F238E27FC236}">
                <a16:creationId xmlns:a16="http://schemas.microsoft.com/office/drawing/2014/main" id="{9170C3BB-B7FF-8869-6C76-2CA877057A1E}"/>
              </a:ext>
            </a:extLst>
          </p:cNvPr>
          <p:cNvPicPr>
            <a:picLocks noChangeAspect="1"/>
          </p:cNvPicPr>
          <p:nvPr userDrawn="1"/>
        </p:nvPicPr>
        <p:blipFill>
          <a:blip r:embed="rId3"/>
          <a:stretch>
            <a:fillRect/>
          </a:stretch>
        </p:blipFill>
        <p:spPr>
          <a:xfrm>
            <a:off x="4749511" y="4814874"/>
            <a:ext cx="296556" cy="296556"/>
          </a:xfrm>
          <a:prstGeom prst="rect">
            <a:avLst/>
          </a:prstGeom>
        </p:spPr>
      </p:pic>
      <p:pic>
        <p:nvPicPr>
          <p:cNvPr id="46" name="Picture 45">
            <a:extLst>
              <a:ext uri="{FF2B5EF4-FFF2-40B4-BE49-F238E27FC236}">
                <a16:creationId xmlns:a16="http://schemas.microsoft.com/office/drawing/2014/main" id="{658EE00F-B011-DAB3-EDE7-742957D89DF0}"/>
              </a:ext>
            </a:extLst>
          </p:cNvPr>
          <p:cNvPicPr>
            <a:picLocks noChangeAspect="1"/>
          </p:cNvPicPr>
          <p:nvPr userDrawn="1"/>
        </p:nvPicPr>
        <p:blipFill>
          <a:blip r:embed="rId3"/>
          <a:stretch>
            <a:fillRect/>
          </a:stretch>
        </p:blipFill>
        <p:spPr>
          <a:xfrm>
            <a:off x="4622222" y="4676068"/>
            <a:ext cx="175715" cy="175715"/>
          </a:xfrm>
          <a:prstGeom prst="rect">
            <a:avLst/>
          </a:prstGeom>
        </p:spPr>
      </p:pic>
      <p:sp>
        <p:nvSpPr>
          <p:cNvPr id="47" name="Rounded Rectangle 46">
            <a:extLst>
              <a:ext uri="{FF2B5EF4-FFF2-40B4-BE49-F238E27FC236}">
                <a16:creationId xmlns:a16="http://schemas.microsoft.com/office/drawing/2014/main" id="{7D239AF4-B7E3-0EB1-449D-365CEC12EC89}"/>
              </a:ext>
            </a:extLst>
          </p:cNvPr>
          <p:cNvSpPr/>
          <p:nvPr userDrawn="1"/>
        </p:nvSpPr>
        <p:spPr>
          <a:xfrm>
            <a:off x="6353068" y="2024772"/>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8" name="Picture Placeholder 7">
            <a:extLst>
              <a:ext uri="{FF2B5EF4-FFF2-40B4-BE49-F238E27FC236}">
                <a16:creationId xmlns:a16="http://schemas.microsoft.com/office/drawing/2014/main" id="{75C4A58F-428C-5E2B-36D0-4CDCF0E8691D}"/>
              </a:ext>
            </a:extLst>
          </p:cNvPr>
          <p:cNvSpPr>
            <a:spLocks noGrp="1"/>
          </p:cNvSpPr>
          <p:nvPr>
            <p:ph type="pic" sz="quarter" idx="26" hasCustomPrompt="1"/>
          </p:nvPr>
        </p:nvSpPr>
        <p:spPr>
          <a:xfrm>
            <a:off x="5519853" y="1926709"/>
            <a:ext cx="1213506" cy="1213507"/>
          </a:xfrm>
          <a:prstGeom prst="ellipse">
            <a:avLst/>
          </a:prstGeom>
        </p:spPr>
        <p:txBody>
          <a:bodyPr>
            <a:normAutofit/>
          </a:bodyPr>
          <a:lstStyle>
            <a:lvl1pPr>
              <a:defRPr sz="1200"/>
            </a:lvl1pPr>
          </a:lstStyle>
          <a:p>
            <a:r>
              <a:rPr lang="en-MX" dirty="0"/>
              <a:t>Click to add picture</a:t>
            </a:r>
          </a:p>
        </p:txBody>
      </p:sp>
      <p:sp>
        <p:nvSpPr>
          <p:cNvPr id="49" name="Text Placeholder 17">
            <a:extLst>
              <a:ext uri="{FF2B5EF4-FFF2-40B4-BE49-F238E27FC236}">
                <a16:creationId xmlns:a16="http://schemas.microsoft.com/office/drawing/2014/main" id="{6DC4D28E-7D6D-5D2F-9C88-DAC43A405C5E}"/>
              </a:ext>
            </a:extLst>
          </p:cNvPr>
          <p:cNvSpPr>
            <a:spLocks noGrp="1"/>
          </p:cNvSpPr>
          <p:nvPr>
            <p:ph type="body" sz="quarter" idx="27" hasCustomPrompt="1"/>
          </p:nvPr>
        </p:nvSpPr>
        <p:spPr>
          <a:xfrm>
            <a:off x="6876467" y="2147080"/>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50" name="Picture 49">
            <a:extLst>
              <a:ext uri="{FF2B5EF4-FFF2-40B4-BE49-F238E27FC236}">
                <a16:creationId xmlns:a16="http://schemas.microsoft.com/office/drawing/2014/main" id="{CA9E4562-1D24-7EE5-938B-995B85131088}"/>
              </a:ext>
            </a:extLst>
          </p:cNvPr>
          <p:cNvPicPr>
            <a:picLocks noChangeAspect="1"/>
          </p:cNvPicPr>
          <p:nvPr userDrawn="1"/>
        </p:nvPicPr>
        <p:blipFill>
          <a:blip r:embed="rId3"/>
          <a:stretch>
            <a:fillRect/>
          </a:stretch>
        </p:blipFill>
        <p:spPr>
          <a:xfrm>
            <a:off x="9354964" y="1926709"/>
            <a:ext cx="296556" cy="296556"/>
          </a:xfrm>
          <a:prstGeom prst="rect">
            <a:avLst/>
          </a:prstGeom>
        </p:spPr>
      </p:pic>
      <p:pic>
        <p:nvPicPr>
          <p:cNvPr id="51" name="Picture 50">
            <a:extLst>
              <a:ext uri="{FF2B5EF4-FFF2-40B4-BE49-F238E27FC236}">
                <a16:creationId xmlns:a16="http://schemas.microsoft.com/office/drawing/2014/main" id="{6770ABC2-6EE2-D082-BAF0-584C2FDFB57D}"/>
              </a:ext>
            </a:extLst>
          </p:cNvPr>
          <p:cNvPicPr>
            <a:picLocks noChangeAspect="1"/>
          </p:cNvPicPr>
          <p:nvPr userDrawn="1"/>
        </p:nvPicPr>
        <p:blipFill>
          <a:blip r:embed="rId3"/>
          <a:stretch>
            <a:fillRect/>
          </a:stretch>
        </p:blipFill>
        <p:spPr>
          <a:xfrm>
            <a:off x="9227675" y="1787903"/>
            <a:ext cx="175715" cy="175715"/>
          </a:xfrm>
          <a:prstGeom prst="rect">
            <a:avLst/>
          </a:prstGeom>
        </p:spPr>
      </p:pic>
      <p:sp>
        <p:nvSpPr>
          <p:cNvPr id="52" name="Rounded Rectangle 51">
            <a:extLst>
              <a:ext uri="{FF2B5EF4-FFF2-40B4-BE49-F238E27FC236}">
                <a16:creationId xmlns:a16="http://schemas.microsoft.com/office/drawing/2014/main" id="{B5E0205D-0A2D-5B44-16AD-F87FEFD70097}"/>
              </a:ext>
            </a:extLst>
          </p:cNvPr>
          <p:cNvSpPr/>
          <p:nvPr userDrawn="1"/>
        </p:nvSpPr>
        <p:spPr>
          <a:xfrm>
            <a:off x="6353068" y="3407523"/>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3" name="Picture Placeholder 7">
            <a:extLst>
              <a:ext uri="{FF2B5EF4-FFF2-40B4-BE49-F238E27FC236}">
                <a16:creationId xmlns:a16="http://schemas.microsoft.com/office/drawing/2014/main" id="{9ED66E40-5173-325E-3958-3FDFB6334E57}"/>
              </a:ext>
            </a:extLst>
          </p:cNvPr>
          <p:cNvSpPr>
            <a:spLocks noGrp="1"/>
          </p:cNvSpPr>
          <p:nvPr>
            <p:ph type="pic" sz="quarter" idx="28" hasCustomPrompt="1"/>
          </p:nvPr>
        </p:nvSpPr>
        <p:spPr>
          <a:xfrm>
            <a:off x="5519853" y="3309460"/>
            <a:ext cx="1213506" cy="1213507"/>
          </a:xfrm>
          <a:prstGeom prst="ellipse">
            <a:avLst/>
          </a:prstGeom>
        </p:spPr>
        <p:txBody>
          <a:bodyPr>
            <a:normAutofit/>
          </a:bodyPr>
          <a:lstStyle>
            <a:lvl1pPr>
              <a:defRPr sz="1200"/>
            </a:lvl1pPr>
          </a:lstStyle>
          <a:p>
            <a:r>
              <a:rPr lang="en-MX" dirty="0"/>
              <a:t>Click to add picture</a:t>
            </a:r>
          </a:p>
        </p:txBody>
      </p:sp>
      <p:sp>
        <p:nvSpPr>
          <p:cNvPr id="54" name="Text Placeholder 17">
            <a:extLst>
              <a:ext uri="{FF2B5EF4-FFF2-40B4-BE49-F238E27FC236}">
                <a16:creationId xmlns:a16="http://schemas.microsoft.com/office/drawing/2014/main" id="{BAC2E8FB-2909-0BE8-50A2-909F4816E018}"/>
              </a:ext>
            </a:extLst>
          </p:cNvPr>
          <p:cNvSpPr>
            <a:spLocks noGrp="1"/>
          </p:cNvSpPr>
          <p:nvPr>
            <p:ph type="body" sz="quarter" idx="29" hasCustomPrompt="1"/>
          </p:nvPr>
        </p:nvSpPr>
        <p:spPr>
          <a:xfrm>
            <a:off x="6876467" y="3529831"/>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55" name="Picture 54">
            <a:extLst>
              <a:ext uri="{FF2B5EF4-FFF2-40B4-BE49-F238E27FC236}">
                <a16:creationId xmlns:a16="http://schemas.microsoft.com/office/drawing/2014/main" id="{A1F98276-6A65-135D-0736-0C90F7D6E809}"/>
              </a:ext>
            </a:extLst>
          </p:cNvPr>
          <p:cNvPicPr>
            <a:picLocks noChangeAspect="1"/>
          </p:cNvPicPr>
          <p:nvPr userDrawn="1"/>
        </p:nvPicPr>
        <p:blipFill>
          <a:blip r:embed="rId3"/>
          <a:stretch>
            <a:fillRect/>
          </a:stretch>
        </p:blipFill>
        <p:spPr>
          <a:xfrm>
            <a:off x="9354964" y="3309460"/>
            <a:ext cx="296556" cy="296556"/>
          </a:xfrm>
          <a:prstGeom prst="rect">
            <a:avLst/>
          </a:prstGeom>
        </p:spPr>
      </p:pic>
      <p:pic>
        <p:nvPicPr>
          <p:cNvPr id="56" name="Picture 55">
            <a:extLst>
              <a:ext uri="{FF2B5EF4-FFF2-40B4-BE49-F238E27FC236}">
                <a16:creationId xmlns:a16="http://schemas.microsoft.com/office/drawing/2014/main" id="{7C11611C-C9BF-AD35-EE6E-A777E64C8690}"/>
              </a:ext>
            </a:extLst>
          </p:cNvPr>
          <p:cNvPicPr>
            <a:picLocks noChangeAspect="1"/>
          </p:cNvPicPr>
          <p:nvPr userDrawn="1"/>
        </p:nvPicPr>
        <p:blipFill>
          <a:blip r:embed="rId3"/>
          <a:stretch>
            <a:fillRect/>
          </a:stretch>
        </p:blipFill>
        <p:spPr>
          <a:xfrm>
            <a:off x="9227675" y="3170654"/>
            <a:ext cx="175715" cy="175715"/>
          </a:xfrm>
          <a:prstGeom prst="rect">
            <a:avLst/>
          </a:prstGeom>
        </p:spPr>
      </p:pic>
      <p:sp>
        <p:nvSpPr>
          <p:cNvPr id="57" name="Rounded Rectangle 56">
            <a:extLst>
              <a:ext uri="{FF2B5EF4-FFF2-40B4-BE49-F238E27FC236}">
                <a16:creationId xmlns:a16="http://schemas.microsoft.com/office/drawing/2014/main" id="{68CFF098-94B3-9723-F14C-CDC9F7F5D8C0}"/>
              </a:ext>
            </a:extLst>
          </p:cNvPr>
          <p:cNvSpPr/>
          <p:nvPr userDrawn="1"/>
        </p:nvSpPr>
        <p:spPr>
          <a:xfrm>
            <a:off x="6353068" y="4912937"/>
            <a:ext cx="3191911" cy="1036238"/>
          </a:xfrm>
          <a:prstGeom prst="roundRect">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8" name="Picture Placeholder 7">
            <a:extLst>
              <a:ext uri="{FF2B5EF4-FFF2-40B4-BE49-F238E27FC236}">
                <a16:creationId xmlns:a16="http://schemas.microsoft.com/office/drawing/2014/main" id="{FBFC395F-1792-F128-2E92-CCC6776BC54F}"/>
              </a:ext>
            </a:extLst>
          </p:cNvPr>
          <p:cNvSpPr>
            <a:spLocks noGrp="1"/>
          </p:cNvSpPr>
          <p:nvPr>
            <p:ph type="pic" sz="quarter" idx="30" hasCustomPrompt="1"/>
          </p:nvPr>
        </p:nvSpPr>
        <p:spPr>
          <a:xfrm>
            <a:off x="5519853" y="4814874"/>
            <a:ext cx="1213506" cy="1213507"/>
          </a:xfrm>
          <a:prstGeom prst="ellipse">
            <a:avLst/>
          </a:prstGeom>
        </p:spPr>
        <p:txBody>
          <a:bodyPr>
            <a:normAutofit/>
          </a:bodyPr>
          <a:lstStyle>
            <a:lvl1pPr>
              <a:defRPr sz="1200"/>
            </a:lvl1pPr>
          </a:lstStyle>
          <a:p>
            <a:r>
              <a:rPr lang="en-MX" dirty="0"/>
              <a:t>Click to add picture</a:t>
            </a:r>
          </a:p>
        </p:txBody>
      </p:sp>
      <p:sp>
        <p:nvSpPr>
          <p:cNvPr id="59" name="Text Placeholder 17">
            <a:extLst>
              <a:ext uri="{FF2B5EF4-FFF2-40B4-BE49-F238E27FC236}">
                <a16:creationId xmlns:a16="http://schemas.microsoft.com/office/drawing/2014/main" id="{0FFE8AC8-FECF-C113-A833-C64E4EE81B9B}"/>
              </a:ext>
            </a:extLst>
          </p:cNvPr>
          <p:cNvSpPr>
            <a:spLocks noGrp="1"/>
          </p:cNvSpPr>
          <p:nvPr>
            <p:ph type="body" sz="quarter" idx="31" hasCustomPrompt="1"/>
          </p:nvPr>
        </p:nvSpPr>
        <p:spPr>
          <a:xfrm>
            <a:off x="6876467" y="5035245"/>
            <a:ext cx="2483866" cy="800100"/>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60" name="Picture 59">
            <a:extLst>
              <a:ext uri="{FF2B5EF4-FFF2-40B4-BE49-F238E27FC236}">
                <a16:creationId xmlns:a16="http://schemas.microsoft.com/office/drawing/2014/main" id="{D8AED5F0-0749-45B9-AC0B-BAEA8E476ADB}"/>
              </a:ext>
            </a:extLst>
          </p:cNvPr>
          <p:cNvPicPr>
            <a:picLocks noChangeAspect="1"/>
          </p:cNvPicPr>
          <p:nvPr userDrawn="1"/>
        </p:nvPicPr>
        <p:blipFill>
          <a:blip r:embed="rId3"/>
          <a:stretch>
            <a:fillRect/>
          </a:stretch>
        </p:blipFill>
        <p:spPr>
          <a:xfrm>
            <a:off x="9354964" y="4814874"/>
            <a:ext cx="296556" cy="296556"/>
          </a:xfrm>
          <a:prstGeom prst="rect">
            <a:avLst/>
          </a:prstGeom>
        </p:spPr>
      </p:pic>
      <p:pic>
        <p:nvPicPr>
          <p:cNvPr id="61" name="Picture 60">
            <a:extLst>
              <a:ext uri="{FF2B5EF4-FFF2-40B4-BE49-F238E27FC236}">
                <a16:creationId xmlns:a16="http://schemas.microsoft.com/office/drawing/2014/main" id="{B4C5A627-2542-9084-A268-D214AE57AEA8}"/>
              </a:ext>
            </a:extLst>
          </p:cNvPr>
          <p:cNvPicPr>
            <a:picLocks noChangeAspect="1"/>
          </p:cNvPicPr>
          <p:nvPr userDrawn="1"/>
        </p:nvPicPr>
        <p:blipFill>
          <a:blip r:embed="rId3"/>
          <a:stretch>
            <a:fillRect/>
          </a:stretch>
        </p:blipFill>
        <p:spPr>
          <a:xfrm>
            <a:off x="9227675" y="4676068"/>
            <a:ext cx="175715" cy="175715"/>
          </a:xfrm>
          <a:prstGeom prst="rect">
            <a:avLst/>
          </a:prstGeom>
        </p:spPr>
      </p:pic>
      <p:pic>
        <p:nvPicPr>
          <p:cNvPr id="62" name="Picture 61" descr="Arrow&#10;&#10;Description automatically generated with medium confidence">
            <a:extLst>
              <a:ext uri="{FF2B5EF4-FFF2-40B4-BE49-F238E27FC236}">
                <a16:creationId xmlns:a16="http://schemas.microsoft.com/office/drawing/2014/main" id="{86AECB92-32CC-61BA-89B3-E74E5AB6D67B}"/>
              </a:ext>
            </a:extLst>
          </p:cNvPr>
          <p:cNvPicPr>
            <a:picLocks noChangeAspect="1"/>
          </p:cNvPicPr>
          <p:nvPr userDrawn="1"/>
        </p:nvPicPr>
        <p:blipFill>
          <a:blip r:embed="rId4"/>
          <a:stretch>
            <a:fillRect/>
          </a:stretch>
        </p:blipFill>
        <p:spPr>
          <a:xfrm rot="10800000">
            <a:off x="10024946" y="764"/>
            <a:ext cx="2198120" cy="2728163"/>
          </a:xfrm>
          <a:prstGeom prst="rect">
            <a:avLst/>
          </a:prstGeom>
        </p:spPr>
      </p:pic>
    </p:spTree>
    <p:extLst>
      <p:ext uri="{BB962C8B-B14F-4D97-AF65-F5344CB8AC3E}">
        <p14:creationId xmlns:p14="http://schemas.microsoft.com/office/powerpoint/2010/main" val="15645739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side_Percent">
    <p:spTree>
      <p:nvGrpSpPr>
        <p:cNvPr id="1" name=""/>
        <p:cNvGrpSpPr/>
        <p:nvPr/>
      </p:nvGrpSpPr>
      <p:grpSpPr>
        <a:xfrm>
          <a:off x="0" y="0"/>
          <a:ext cx="0" cy="0"/>
          <a:chOff x="0" y="0"/>
          <a:chExt cx="0" cy="0"/>
        </a:xfrm>
      </p:grpSpPr>
      <p:sp>
        <p:nvSpPr>
          <p:cNvPr id="7" name="Text Placeholder 20">
            <a:extLst>
              <a:ext uri="{FF2B5EF4-FFF2-40B4-BE49-F238E27FC236}">
                <a16:creationId xmlns:a16="http://schemas.microsoft.com/office/drawing/2014/main" id="{962A88D3-E385-AC4B-8558-208C9123F814}"/>
              </a:ext>
            </a:extLst>
          </p:cNvPr>
          <p:cNvSpPr>
            <a:spLocks noGrp="1"/>
          </p:cNvSpPr>
          <p:nvPr>
            <p:ph type="body" sz="quarter" idx="13" hasCustomPrompt="1"/>
          </p:nvPr>
        </p:nvSpPr>
        <p:spPr>
          <a:xfrm>
            <a:off x="1124766" y="2130292"/>
            <a:ext cx="1127047" cy="572823"/>
          </a:xfrm>
        </p:spPr>
        <p:txBody>
          <a:bodyPr>
            <a:noAutofit/>
          </a:bodyPr>
          <a:lstStyle>
            <a:lvl1pPr>
              <a:buNone/>
              <a:defRPr sz="4000">
                <a:solidFill>
                  <a:srgbClr val="2DB035"/>
                </a:solidFill>
              </a:defRPr>
            </a:lvl1pPr>
          </a:lstStyle>
          <a:p>
            <a:pPr lvl="0"/>
            <a:r>
              <a:rPr lang="en-US" dirty="0"/>
              <a:t>XX%</a:t>
            </a:r>
          </a:p>
        </p:txBody>
      </p:sp>
      <p:sp>
        <p:nvSpPr>
          <p:cNvPr id="8" name="Text Placeholder 20">
            <a:extLst>
              <a:ext uri="{FF2B5EF4-FFF2-40B4-BE49-F238E27FC236}">
                <a16:creationId xmlns:a16="http://schemas.microsoft.com/office/drawing/2014/main" id="{94CD28ED-57FB-3F44-BA63-CD66B42423F1}"/>
              </a:ext>
            </a:extLst>
          </p:cNvPr>
          <p:cNvSpPr>
            <a:spLocks noGrp="1"/>
          </p:cNvSpPr>
          <p:nvPr>
            <p:ph type="body" sz="quarter" idx="14" hasCustomPrompt="1"/>
          </p:nvPr>
        </p:nvSpPr>
        <p:spPr>
          <a:xfrm>
            <a:off x="1124766" y="3057049"/>
            <a:ext cx="1127047" cy="572823"/>
          </a:xfrm>
        </p:spPr>
        <p:txBody>
          <a:bodyPr>
            <a:noAutofit/>
          </a:bodyPr>
          <a:lstStyle>
            <a:lvl1pPr>
              <a:buNone/>
              <a:defRPr sz="4000">
                <a:solidFill>
                  <a:srgbClr val="2DB035"/>
                </a:solidFill>
              </a:defRPr>
            </a:lvl1pPr>
          </a:lstStyle>
          <a:p>
            <a:pPr lvl="0"/>
            <a:r>
              <a:rPr lang="en-US" dirty="0"/>
              <a:t>XX%</a:t>
            </a:r>
          </a:p>
        </p:txBody>
      </p:sp>
      <p:sp>
        <p:nvSpPr>
          <p:cNvPr id="9" name="Text Placeholder 20">
            <a:extLst>
              <a:ext uri="{FF2B5EF4-FFF2-40B4-BE49-F238E27FC236}">
                <a16:creationId xmlns:a16="http://schemas.microsoft.com/office/drawing/2014/main" id="{4905E486-C86B-A54A-834F-207F7AF7AE32}"/>
              </a:ext>
            </a:extLst>
          </p:cNvPr>
          <p:cNvSpPr>
            <a:spLocks noGrp="1"/>
          </p:cNvSpPr>
          <p:nvPr>
            <p:ph type="body" sz="quarter" idx="15" hasCustomPrompt="1"/>
          </p:nvPr>
        </p:nvSpPr>
        <p:spPr>
          <a:xfrm>
            <a:off x="1124766" y="3983806"/>
            <a:ext cx="1127047" cy="572823"/>
          </a:xfrm>
        </p:spPr>
        <p:txBody>
          <a:bodyPr>
            <a:noAutofit/>
          </a:bodyPr>
          <a:lstStyle>
            <a:lvl1pPr>
              <a:buNone/>
              <a:defRPr sz="4000">
                <a:solidFill>
                  <a:srgbClr val="2DB035"/>
                </a:solidFill>
              </a:defRPr>
            </a:lvl1pPr>
          </a:lstStyle>
          <a:p>
            <a:pPr lvl="0"/>
            <a:r>
              <a:rPr lang="en-US" dirty="0"/>
              <a:t>XX%</a:t>
            </a:r>
          </a:p>
        </p:txBody>
      </p:sp>
      <p:sp>
        <p:nvSpPr>
          <p:cNvPr id="10" name="Text Placeholder 20">
            <a:extLst>
              <a:ext uri="{FF2B5EF4-FFF2-40B4-BE49-F238E27FC236}">
                <a16:creationId xmlns:a16="http://schemas.microsoft.com/office/drawing/2014/main" id="{5B344C2D-6E7A-1E4B-8A1E-98A063571268}"/>
              </a:ext>
            </a:extLst>
          </p:cNvPr>
          <p:cNvSpPr>
            <a:spLocks noGrp="1"/>
          </p:cNvSpPr>
          <p:nvPr>
            <p:ph type="body" sz="quarter" idx="16" hasCustomPrompt="1"/>
          </p:nvPr>
        </p:nvSpPr>
        <p:spPr>
          <a:xfrm>
            <a:off x="1124766" y="4922919"/>
            <a:ext cx="1127047" cy="572823"/>
          </a:xfrm>
        </p:spPr>
        <p:txBody>
          <a:bodyPr>
            <a:noAutofit/>
          </a:bodyPr>
          <a:lstStyle>
            <a:lvl1pPr>
              <a:buNone/>
              <a:defRPr sz="4000">
                <a:solidFill>
                  <a:srgbClr val="2DB035"/>
                </a:solidFill>
              </a:defRPr>
            </a:lvl1pPr>
          </a:lstStyle>
          <a:p>
            <a:pPr lvl="0"/>
            <a:r>
              <a:rPr lang="en-US" dirty="0"/>
              <a:t>XX%</a:t>
            </a:r>
          </a:p>
        </p:txBody>
      </p:sp>
      <p:sp>
        <p:nvSpPr>
          <p:cNvPr id="12" name="Text Placeholder 20">
            <a:extLst>
              <a:ext uri="{FF2B5EF4-FFF2-40B4-BE49-F238E27FC236}">
                <a16:creationId xmlns:a16="http://schemas.microsoft.com/office/drawing/2014/main" id="{57367FDD-31B6-974A-BF19-A93D7E5471BA}"/>
              </a:ext>
            </a:extLst>
          </p:cNvPr>
          <p:cNvSpPr>
            <a:spLocks noGrp="1"/>
          </p:cNvSpPr>
          <p:nvPr>
            <p:ph type="body" sz="quarter" idx="17" hasCustomPrompt="1"/>
          </p:nvPr>
        </p:nvSpPr>
        <p:spPr>
          <a:xfrm>
            <a:off x="6317434" y="2088578"/>
            <a:ext cx="4749800" cy="458313"/>
          </a:xfrm>
        </p:spPr>
        <p:txBody>
          <a:bodyPr>
            <a:normAutofit/>
          </a:bodyPr>
          <a:lstStyle>
            <a:lvl1pPr>
              <a:buNone/>
              <a:defRPr sz="2500">
                <a:solidFill>
                  <a:srgbClr val="2DB035"/>
                </a:solidFill>
              </a:defRPr>
            </a:lvl1pPr>
          </a:lstStyle>
          <a:p>
            <a:pPr lvl="0"/>
            <a:r>
              <a:rPr lang="en-US" dirty="0"/>
              <a:t>Title</a:t>
            </a:r>
          </a:p>
        </p:txBody>
      </p:sp>
      <p:sp>
        <p:nvSpPr>
          <p:cNvPr id="15" name="Text Placeholder 20">
            <a:extLst>
              <a:ext uri="{FF2B5EF4-FFF2-40B4-BE49-F238E27FC236}">
                <a16:creationId xmlns:a16="http://schemas.microsoft.com/office/drawing/2014/main" id="{CC55C5FF-60C7-9245-8D00-2BFD934D74CB}"/>
              </a:ext>
            </a:extLst>
          </p:cNvPr>
          <p:cNvSpPr>
            <a:spLocks noGrp="1"/>
          </p:cNvSpPr>
          <p:nvPr>
            <p:ph type="body" sz="quarter" idx="18" hasCustomPrompt="1"/>
          </p:nvPr>
        </p:nvSpPr>
        <p:spPr>
          <a:xfrm>
            <a:off x="2375930" y="2224503"/>
            <a:ext cx="2999560" cy="458313"/>
          </a:xfrm>
        </p:spPr>
        <p:txBody>
          <a:bodyPr>
            <a:normAutofit/>
          </a:bodyPr>
          <a:lstStyle>
            <a:lvl1pPr>
              <a:buNone/>
              <a:defRPr sz="2000">
                <a:solidFill>
                  <a:schemeClr val="tx1">
                    <a:lumMod val="95000"/>
                    <a:lumOff val="5000"/>
                  </a:schemeClr>
                </a:solidFill>
              </a:defRPr>
            </a:lvl1pPr>
          </a:lstStyle>
          <a:p>
            <a:pPr lvl="0"/>
            <a:r>
              <a:rPr lang="en-US" dirty="0"/>
              <a:t>Title</a:t>
            </a:r>
          </a:p>
        </p:txBody>
      </p:sp>
      <p:sp>
        <p:nvSpPr>
          <p:cNvPr id="16" name="Text Placeholder 20">
            <a:extLst>
              <a:ext uri="{FF2B5EF4-FFF2-40B4-BE49-F238E27FC236}">
                <a16:creationId xmlns:a16="http://schemas.microsoft.com/office/drawing/2014/main" id="{70E62A21-3133-924A-BF52-FF30FAE1FBFC}"/>
              </a:ext>
            </a:extLst>
          </p:cNvPr>
          <p:cNvSpPr>
            <a:spLocks noGrp="1"/>
          </p:cNvSpPr>
          <p:nvPr>
            <p:ph type="body" sz="quarter" idx="19" hasCustomPrompt="1"/>
          </p:nvPr>
        </p:nvSpPr>
        <p:spPr>
          <a:xfrm>
            <a:off x="2375930" y="3126546"/>
            <a:ext cx="2999560" cy="458313"/>
          </a:xfrm>
        </p:spPr>
        <p:txBody>
          <a:bodyPr>
            <a:normAutofit/>
          </a:bodyPr>
          <a:lstStyle>
            <a:lvl1pPr>
              <a:buNone/>
              <a:defRPr sz="2000">
                <a:solidFill>
                  <a:schemeClr val="tx1">
                    <a:lumMod val="95000"/>
                    <a:lumOff val="5000"/>
                  </a:schemeClr>
                </a:solidFill>
              </a:defRPr>
            </a:lvl1pPr>
          </a:lstStyle>
          <a:p>
            <a:pPr lvl="0"/>
            <a:r>
              <a:rPr lang="en-US" dirty="0"/>
              <a:t>Title</a:t>
            </a:r>
          </a:p>
        </p:txBody>
      </p:sp>
      <p:sp>
        <p:nvSpPr>
          <p:cNvPr id="17" name="Text Placeholder 20">
            <a:extLst>
              <a:ext uri="{FF2B5EF4-FFF2-40B4-BE49-F238E27FC236}">
                <a16:creationId xmlns:a16="http://schemas.microsoft.com/office/drawing/2014/main" id="{65EB68A5-B977-BC4C-AC79-9E11C8948C2D}"/>
              </a:ext>
            </a:extLst>
          </p:cNvPr>
          <p:cNvSpPr>
            <a:spLocks noGrp="1"/>
          </p:cNvSpPr>
          <p:nvPr>
            <p:ph type="body" sz="quarter" idx="20" hasCustomPrompt="1"/>
          </p:nvPr>
        </p:nvSpPr>
        <p:spPr>
          <a:xfrm>
            <a:off x="2375930" y="4053303"/>
            <a:ext cx="2999560" cy="458313"/>
          </a:xfrm>
        </p:spPr>
        <p:txBody>
          <a:bodyPr>
            <a:normAutofit/>
          </a:bodyPr>
          <a:lstStyle>
            <a:lvl1pPr>
              <a:buNone/>
              <a:defRPr sz="2000">
                <a:solidFill>
                  <a:schemeClr val="tx1">
                    <a:lumMod val="95000"/>
                    <a:lumOff val="5000"/>
                  </a:schemeClr>
                </a:solidFill>
              </a:defRPr>
            </a:lvl1pPr>
          </a:lstStyle>
          <a:p>
            <a:pPr lvl="0"/>
            <a:r>
              <a:rPr lang="en-US" dirty="0"/>
              <a:t>Title</a:t>
            </a:r>
          </a:p>
        </p:txBody>
      </p:sp>
      <p:sp>
        <p:nvSpPr>
          <p:cNvPr id="18" name="Text Placeholder 20">
            <a:extLst>
              <a:ext uri="{FF2B5EF4-FFF2-40B4-BE49-F238E27FC236}">
                <a16:creationId xmlns:a16="http://schemas.microsoft.com/office/drawing/2014/main" id="{26C80C28-EB23-8144-8E99-DDE2D9639DE3}"/>
              </a:ext>
            </a:extLst>
          </p:cNvPr>
          <p:cNvSpPr>
            <a:spLocks noGrp="1"/>
          </p:cNvSpPr>
          <p:nvPr>
            <p:ph type="body" sz="quarter" idx="21" hasCustomPrompt="1"/>
          </p:nvPr>
        </p:nvSpPr>
        <p:spPr>
          <a:xfrm>
            <a:off x="2375930" y="4992417"/>
            <a:ext cx="2999560" cy="458313"/>
          </a:xfrm>
        </p:spPr>
        <p:txBody>
          <a:bodyPr>
            <a:normAutofit/>
          </a:bodyPr>
          <a:lstStyle>
            <a:lvl1pPr>
              <a:buNone/>
              <a:defRPr sz="2000">
                <a:solidFill>
                  <a:schemeClr val="tx1">
                    <a:lumMod val="95000"/>
                    <a:lumOff val="5000"/>
                  </a:schemeClr>
                </a:solidFill>
              </a:defRPr>
            </a:lvl1pPr>
          </a:lstStyle>
          <a:p>
            <a:pPr lvl="0"/>
            <a:r>
              <a:rPr lang="en-US" dirty="0"/>
              <a:t>Title</a:t>
            </a:r>
          </a:p>
        </p:txBody>
      </p:sp>
      <p:pic>
        <p:nvPicPr>
          <p:cNvPr id="19" name="Picture 18">
            <a:extLst>
              <a:ext uri="{FF2B5EF4-FFF2-40B4-BE49-F238E27FC236}">
                <a16:creationId xmlns:a16="http://schemas.microsoft.com/office/drawing/2014/main" id="{FCD10171-FDCA-A34B-80FF-9C526C2B86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4508" y="3043192"/>
            <a:ext cx="274320" cy="274320"/>
          </a:xfrm>
          <a:prstGeom prst="rect">
            <a:avLst/>
          </a:prstGeom>
        </p:spPr>
      </p:pic>
      <p:pic>
        <p:nvPicPr>
          <p:cNvPr id="21" name="Picture 20">
            <a:extLst>
              <a:ext uri="{FF2B5EF4-FFF2-40B4-BE49-F238E27FC236}">
                <a16:creationId xmlns:a16="http://schemas.microsoft.com/office/drawing/2014/main" id="{FDE2EC4C-B976-6C48-899D-C32818ECAE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87013" y="2096526"/>
            <a:ext cx="294449" cy="294449"/>
          </a:xfrm>
          <a:prstGeom prst="rect">
            <a:avLst/>
          </a:prstGeom>
        </p:spPr>
      </p:pic>
      <p:pic>
        <p:nvPicPr>
          <p:cNvPr id="22" name="Picture 21">
            <a:extLst>
              <a:ext uri="{FF2B5EF4-FFF2-40B4-BE49-F238E27FC236}">
                <a16:creationId xmlns:a16="http://schemas.microsoft.com/office/drawing/2014/main" id="{CF81A85D-55F5-8248-B0D3-9283E8F602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59131" y="3979831"/>
            <a:ext cx="294449" cy="294449"/>
          </a:xfrm>
          <a:prstGeom prst="rect">
            <a:avLst/>
          </a:prstGeom>
        </p:spPr>
      </p:pic>
      <p:pic>
        <p:nvPicPr>
          <p:cNvPr id="23" name="Picture 22">
            <a:extLst>
              <a:ext uri="{FF2B5EF4-FFF2-40B4-BE49-F238E27FC236}">
                <a16:creationId xmlns:a16="http://schemas.microsoft.com/office/drawing/2014/main" id="{FE6B87EA-0CFD-674C-88D5-6C1556AC288A}"/>
              </a:ext>
            </a:extLst>
          </p:cNvPr>
          <p:cNvPicPr>
            <a:picLocks noChangeAspect="1"/>
          </p:cNvPicPr>
          <p:nvPr userDrawn="1"/>
        </p:nvPicPr>
        <p:blipFill>
          <a:blip r:embed="rId3"/>
          <a:stretch>
            <a:fillRect/>
          </a:stretch>
        </p:blipFill>
        <p:spPr>
          <a:xfrm>
            <a:off x="11307174" y="2776822"/>
            <a:ext cx="458313" cy="458313"/>
          </a:xfrm>
          <a:prstGeom prst="rect">
            <a:avLst/>
          </a:prstGeom>
        </p:spPr>
      </p:pic>
      <p:pic>
        <p:nvPicPr>
          <p:cNvPr id="25" name="Picture 24">
            <a:extLst>
              <a:ext uri="{FF2B5EF4-FFF2-40B4-BE49-F238E27FC236}">
                <a16:creationId xmlns:a16="http://schemas.microsoft.com/office/drawing/2014/main" id="{F365AD60-4A38-B146-9AF8-9AA1AB9F83A7}"/>
              </a:ext>
            </a:extLst>
          </p:cNvPr>
          <p:cNvPicPr>
            <a:picLocks noChangeAspect="1"/>
          </p:cNvPicPr>
          <p:nvPr userDrawn="1"/>
        </p:nvPicPr>
        <p:blipFill>
          <a:blip r:embed="rId4"/>
          <a:stretch>
            <a:fillRect/>
          </a:stretch>
        </p:blipFill>
        <p:spPr>
          <a:xfrm>
            <a:off x="357284" y="2453659"/>
            <a:ext cx="371020" cy="371020"/>
          </a:xfrm>
          <a:prstGeom prst="rect">
            <a:avLst/>
          </a:prstGeom>
        </p:spPr>
      </p:pic>
      <p:sp>
        <p:nvSpPr>
          <p:cNvPr id="26" name="Text Placeholder 17">
            <a:extLst>
              <a:ext uri="{FF2B5EF4-FFF2-40B4-BE49-F238E27FC236}">
                <a16:creationId xmlns:a16="http://schemas.microsoft.com/office/drawing/2014/main" id="{A916F8F8-24C5-C141-B510-E1C048FF8CB1}"/>
              </a:ext>
            </a:extLst>
          </p:cNvPr>
          <p:cNvSpPr>
            <a:spLocks noGrp="1"/>
          </p:cNvSpPr>
          <p:nvPr>
            <p:ph type="body" sz="quarter" idx="22" hasCustomPrompt="1"/>
          </p:nvPr>
        </p:nvSpPr>
        <p:spPr>
          <a:xfrm>
            <a:off x="6317434" y="2702061"/>
            <a:ext cx="4749800" cy="2748669"/>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20" name="Picture 19" descr="A picture containing text, clipart&#10;&#10;Description automatically generated">
            <a:extLst>
              <a:ext uri="{FF2B5EF4-FFF2-40B4-BE49-F238E27FC236}">
                <a16:creationId xmlns:a16="http://schemas.microsoft.com/office/drawing/2014/main" id="{4242B805-1382-3C4E-B390-93A83948493D}"/>
              </a:ext>
            </a:extLst>
          </p:cNvPr>
          <p:cNvPicPr>
            <a:picLocks noChangeAspect="1"/>
          </p:cNvPicPr>
          <p:nvPr userDrawn="1"/>
        </p:nvPicPr>
        <p:blipFill>
          <a:blip r:embed="rId5"/>
          <a:stretch>
            <a:fillRect/>
          </a:stretch>
        </p:blipFill>
        <p:spPr>
          <a:xfrm>
            <a:off x="10133703" y="6325250"/>
            <a:ext cx="1738361" cy="194422"/>
          </a:xfrm>
          <a:prstGeom prst="rect">
            <a:avLst/>
          </a:prstGeom>
        </p:spPr>
      </p:pic>
      <p:pic>
        <p:nvPicPr>
          <p:cNvPr id="5" name="Picture 4" descr="Arrow&#10;&#10;Description automatically generated with medium confidence">
            <a:extLst>
              <a:ext uri="{FF2B5EF4-FFF2-40B4-BE49-F238E27FC236}">
                <a16:creationId xmlns:a16="http://schemas.microsoft.com/office/drawing/2014/main" id="{BC6715A2-B886-264E-8242-CB359F4D0CB8}"/>
              </a:ext>
            </a:extLst>
          </p:cNvPr>
          <p:cNvPicPr>
            <a:picLocks noChangeAspect="1"/>
          </p:cNvPicPr>
          <p:nvPr userDrawn="1"/>
        </p:nvPicPr>
        <p:blipFill>
          <a:blip r:embed="rId6"/>
          <a:stretch>
            <a:fillRect/>
          </a:stretch>
        </p:blipFill>
        <p:spPr>
          <a:xfrm>
            <a:off x="-10524" y="4641597"/>
            <a:ext cx="1790700" cy="2222500"/>
          </a:xfrm>
          <a:prstGeom prst="rect">
            <a:avLst/>
          </a:prstGeom>
        </p:spPr>
      </p:pic>
      <p:sp>
        <p:nvSpPr>
          <p:cNvPr id="24" name="Title 6">
            <a:extLst>
              <a:ext uri="{FF2B5EF4-FFF2-40B4-BE49-F238E27FC236}">
                <a16:creationId xmlns:a16="http://schemas.microsoft.com/office/drawing/2014/main" id="{18981A85-BBB3-8E4C-11EA-53C18A148A4C}"/>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27" name="Text Placeholder 16">
            <a:extLst>
              <a:ext uri="{FF2B5EF4-FFF2-40B4-BE49-F238E27FC236}">
                <a16:creationId xmlns:a16="http://schemas.microsoft.com/office/drawing/2014/main" id="{047EAFF4-2912-1EAA-5FF7-6FD9CDB73357}"/>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Tree>
    <p:extLst>
      <p:ext uri="{BB962C8B-B14F-4D97-AF65-F5344CB8AC3E}">
        <p14:creationId xmlns:p14="http://schemas.microsoft.com/office/powerpoint/2010/main" val="37879359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side_Percent 2">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9583E18D-E253-604A-BBA4-FCA1B4805463}"/>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4" name="Text Placeholder 16">
            <a:extLst>
              <a:ext uri="{FF2B5EF4-FFF2-40B4-BE49-F238E27FC236}">
                <a16:creationId xmlns:a16="http://schemas.microsoft.com/office/drawing/2014/main" id="{827B0376-9B21-D349-91DA-B4930FE74DB7}"/>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7" name="Text Placeholder 20">
            <a:extLst>
              <a:ext uri="{FF2B5EF4-FFF2-40B4-BE49-F238E27FC236}">
                <a16:creationId xmlns:a16="http://schemas.microsoft.com/office/drawing/2014/main" id="{962A88D3-E385-AC4B-8558-208C9123F814}"/>
              </a:ext>
            </a:extLst>
          </p:cNvPr>
          <p:cNvSpPr>
            <a:spLocks noGrp="1"/>
          </p:cNvSpPr>
          <p:nvPr>
            <p:ph type="body" sz="quarter" idx="13" hasCustomPrompt="1"/>
          </p:nvPr>
        </p:nvSpPr>
        <p:spPr>
          <a:xfrm>
            <a:off x="1239520" y="2999291"/>
            <a:ext cx="1298281" cy="572823"/>
          </a:xfrm>
        </p:spPr>
        <p:txBody>
          <a:bodyPr>
            <a:noAutofit/>
          </a:bodyPr>
          <a:lstStyle>
            <a:lvl1pPr>
              <a:buNone/>
              <a:defRPr sz="4000">
                <a:solidFill>
                  <a:srgbClr val="2DB035"/>
                </a:solidFill>
              </a:defRPr>
            </a:lvl1pPr>
          </a:lstStyle>
          <a:p>
            <a:pPr lvl="0"/>
            <a:r>
              <a:rPr lang="en-US" dirty="0"/>
              <a:t>XX%</a:t>
            </a:r>
          </a:p>
        </p:txBody>
      </p:sp>
      <p:sp>
        <p:nvSpPr>
          <p:cNvPr id="15" name="Text Placeholder 20">
            <a:extLst>
              <a:ext uri="{FF2B5EF4-FFF2-40B4-BE49-F238E27FC236}">
                <a16:creationId xmlns:a16="http://schemas.microsoft.com/office/drawing/2014/main" id="{CC55C5FF-60C7-9245-8D00-2BFD934D74CB}"/>
              </a:ext>
            </a:extLst>
          </p:cNvPr>
          <p:cNvSpPr>
            <a:spLocks noGrp="1"/>
          </p:cNvSpPr>
          <p:nvPr>
            <p:ph type="body" sz="quarter" idx="18" hasCustomPrompt="1"/>
          </p:nvPr>
        </p:nvSpPr>
        <p:spPr>
          <a:xfrm>
            <a:off x="1239520" y="3793957"/>
            <a:ext cx="2994418" cy="457201"/>
          </a:xfrm>
        </p:spPr>
        <p:txBody>
          <a:bodyPr>
            <a:normAutofit/>
          </a:bodyPr>
          <a:lstStyle>
            <a:lvl1pPr algn="l">
              <a:buNone/>
              <a:defRPr sz="2000">
                <a:solidFill>
                  <a:srgbClr val="2DB035"/>
                </a:solidFill>
              </a:defRPr>
            </a:lvl1pPr>
          </a:lstStyle>
          <a:p>
            <a:pPr lvl="0"/>
            <a:r>
              <a:rPr lang="en-US" dirty="0"/>
              <a:t>Title</a:t>
            </a:r>
          </a:p>
        </p:txBody>
      </p:sp>
      <p:sp>
        <p:nvSpPr>
          <p:cNvPr id="19" name="Text Placeholder 20">
            <a:extLst>
              <a:ext uri="{FF2B5EF4-FFF2-40B4-BE49-F238E27FC236}">
                <a16:creationId xmlns:a16="http://schemas.microsoft.com/office/drawing/2014/main" id="{A0946DA3-95F8-884A-9697-21BB495849F7}"/>
              </a:ext>
            </a:extLst>
          </p:cNvPr>
          <p:cNvSpPr>
            <a:spLocks noGrp="1"/>
          </p:cNvSpPr>
          <p:nvPr>
            <p:ph type="body" sz="quarter" idx="19" hasCustomPrompt="1"/>
          </p:nvPr>
        </p:nvSpPr>
        <p:spPr>
          <a:xfrm>
            <a:off x="4599940" y="2999291"/>
            <a:ext cx="1298281" cy="572823"/>
          </a:xfrm>
        </p:spPr>
        <p:txBody>
          <a:bodyPr>
            <a:noAutofit/>
          </a:bodyPr>
          <a:lstStyle>
            <a:lvl1pPr>
              <a:buNone/>
              <a:defRPr sz="4000">
                <a:solidFill>
                  <a:srgbClr val="2DB035"/>
                </a:solidFill>
              </a:defRPr>
            </a:lvl1pPr>
          </a:lstStyle>
          <a:p>
            <a:pPr lvl="0"/>
            <a:r>
              <a:rPr lang="en-US" dirty="0"/>
              <a:t>XX%</a:t>
            </a:r>
          </a:p>
        </p:txBody>
      </p:sp>
      <p:sp>
        <p:nvSpPr>
          <p:cNvPr id="20" name="Text Placeholder 20">
            <a:extLst>
              <a:ext uri="{FF2B5EF4-FFF2-40B4-BE49-F238E27FC236}">
                <a16:creationId xmlns:a16="http://schemas.microsoft.com/office/drawing/2014/main" id="{C98C1EAB-0321-A04D-92AB-7237392F7BFB}"/>
              </a:ext>
            </a:extLst>
          </p:cNvPr>
          <p:cNvSpPr>
            <a:spLocks noGrp="1"/>
          </p:cNvSpPr>
          <p:nvPr>
            <p:ph type="body" sz="quarter" idx="20" hasCustomPrompt="1"/>
          </p:nvPr>
        </p:nvSpPr>
        <p:spPr>
          <a:xfrm>
            <a:off x="4612640" y="3793957"/>
            <a:ext cx="2994418" cy="457201"/>
          </a:xfrm>
        </p:spPr>
        <p:txBody>
          <a:bodyPr>
            <a:normAutofit/>
          </a:bodyPr>
          <a:lstStyle>
            <a:lvl1pPr algn="l">
              <a:buNone/>
              <a:defRPr sz="2000">
                <a:solidFill>
                  <a:srgbClr val="2DB035"/>
                </a:solidFill>
              </a:defRPr>
            </a:lvl1pPr>
          </a:lstStyle>
          <a:p>
            <a:pPr lvl="0"/>
            <a:r>
              <a:rPr lang="en-US" dirty="0"/>
              <a:t>Title</a:t>
            </a:r>
          </a:p>
        </p:txBody>
      </p:sp>
      <p:sp>
        <p:nvSpPr>
          <p:cNvPr id="26" name="Text Placeholder 20">
            <a:extLst>
              <a:ext uri="{FF2B5EF4-FFF2-40B4-BE49-F238E27FC236}">
                <a16:creationId xmlns:a16="http://schemas.microsoft.com/office/drawing/2014/main" id="{5BCD50DA-A053-DC40-91FC-8F1F46F6FF24}"/>
              </a:ext>
            </a:extLst>
          </p:cNvPr>
          <p:cNvSpPr>
            <a:spLocks noGrp="1"/>
          </p:cNvSpPr>
          <p:nvPr>
            <p:ph type="body" sz="quarter" idx="22" hasCustomPrompt="1"/>
          </p:nvPr>
        </p:nvSpPr>
        <p:spPr>
          <a:xfrm>
            <a:off x="7983220" y="2999291"/>
            <a:ext cx="1298281" cy="572823"/>
          </a:xfrm>
        </p:spPr>
        <p:txBody>
          <a:bodyPr>
            <a:noAutofit/>
          </a:bodyPr>
          <a:lstStyle>
            <a:lvl1pPr>
              <a:buNone/>
              <a:defRPr sz="4000">
                <a:solidFill>
                  <a:srgbClr val="2DB035"/>
                </a:solidFill>
              </a:defRPr>
            </a:lvl1pPr>
          </a:lstStyle>
          <a:p>
            <a:pPr lvl="0"/>
            <a:r>
              <a:rPr lang="en-US" dirty="0"/>
              <a:t>XX%</a:t>
            </a:r>
          </a:p>
        </p:txBody>
      </p:sp>
      <p:sp>
        <p:nvSpPr>
          <p:cNvPr id="27" name="Text Placeholder 20">
            <a:extLst>
              <a:ext uri="{FF2B5EF4-FFF2-40B4-BE49-F238E27FC236}">
                <a16:creationId xmlns:a16="http://schemas.microsoft.com/office/drawing/2014/main" id="{582B849F-7946-BE4A-8310-9B6FF7E55925}"/>
              </a:ext>
            </a:extLst>
          </p:cNvPr>
          <p:cNvSpPr>
            <a:spLocks noGrp="1"/>
          </p:cNvSpPr>
          <p:nvPr>
            <p:ph type="body" sz="quarter" idx="23" hasCustomPrompt="1"/>
          </p:nvPr>
        </p:nvSpPr>
        <p:spPr>
          <a:xfrm>
            <a:off x="7985760" y="3793957"/>
            <a:ext cx="2994418" cy="457201"/>
          </a:xfrm>
        </p:spPr>
        <p:txBody>
          <a:bodyPr>
            <a:normAutofit/>
          </a:bodyPr>
          <a:lstStyle>
            <a:lvl1pPr algn="l">
              <a:buNone/>
              <a:defRPr sz="2000">
                <a:solidFill>
                  <a:srgbClr val="2DB035"/>
                </a:solidFill>
              </a:defRPr>
            </a:lvl1pPr>
          </a:lstStyle>
          <a:p>
            <a:pPr lvl="0"/>
            <a:r>
              <a:rPr lang="en-US" dirty="0"/>
              <a:t>Title</a:t>
            </a:r>
          </a:p>
        </p:txBody>
      </p:sp>
      <p:pic>
        <p:nvPicPr>
          <p:cNvPr id="32" name="Picture 31">
            <a:extLst>
              <a:ext uri="{FF2B5EF4-FFF2-40B4-BE49-F238E27FC236}">
                <a16:creationId xmlns:a16="http://schemas.microsoft.com/office/drawing/2014/main" id="{0507DA65-16D2-0A42-8212-04319D8366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353" y="2717863"/>
            <a:ext cx="274320" cy="274320"/>
          </a:xfrm>
          <a:prstGeom prst="rect">
            <a:avLst/>
          </a:prstGeom>
        </p:spPr>
      </p:pic>
      <p:pic>
        <p:nvPicPr>
          <p:cNvPr id="33" name="Picture 32">
            <a:extLst>
              <a:ext uri="{FF2B5EF4-FFF2-40B4-BE49-F238E27FC236}">
                <a16:creationId xmlns:a16="http://schemas.microsoft.com/office/drawing/2014/main" id="{A21280E3-6349-E649-892B-4E5EFC398A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1504" y="5585932"/>
            <a:ext cx="371020" cy="371020"/>
          </a:xfrm>
          <a:prstGeom prst="rect">
            <a:avLst/>
          </a:prstGeom>
        </p:spPr>
      </p:pic>
      <p:pic>
        <p:nvPicPr>
          <p:cNvPr id="34" name="Picture 33">
            <a:extLst>
              <a:ext uri="{FF2B5EF4-FFF2-40B4-BE49-F238E27FC236}">
                <a16:creationId xmlns:a16="http://schemas.microsoft.com/office/drawing/2014/main" id="{69888665-92D3-0E48-993B-FD94D34045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2415" y="2587135"/>
            <a:ext cx="294449" cy="294449"/>
          </a:xfrm>
          <a:prstGeom prst="rect">
            <a:avLst/>
          </a:prstGeom>
        </p:spPr>
      </p:pic>
      <p:pic>
        <p:nvPicPr>
          <p:cNvPr id="35" name="Picture 34">
            <a:extLst>
              <a:ext uri="{FF2B5EF4-FFF2-40B4-BE49-F238E27FC236}">
                <a16:creationId xmlns:a16="http://schemas.microsoft.com/office/drawing/2014/main" id="{18F91620-128C-AF4D-9C6C-8B1074BA6C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9465" y="6225223"/>
            <a:ext cx="294449" cy="294449"/>
          </a:xfrm>
          <a:prstGeom prst="rect">
            <a:avLst/>
          </a:prstGeom>
        </p:spPr>
      </p:pic>
      <p:pic>
        <p:nvPicPr>
          <p:cNvPr id="36" name="Picture 35">
            <a:extLst>
              <a:ext uri="{FF2B5EF4-FFF2-40B4-BE49-F238E27FC236}">
                <a16:creationId xmlns:a16="http://schemas.microsoft.com/office/drawing/2014/main" id="{2A1A417D-B7D8-D240-AEAC-C73CEF1E0C07}"/>
              </a:ext>
            </a:extLst>
          </p:cNvPr>
          <p:cNvPicPr>
            <a:picLocks noChangeAspect="1"/>
          </p:cNvPicPr>
          <p:nvPr userDrawn="1"/>
        </p:nvPicPr>
        <p:blipFill>
          <a:blip r:embed="rId3"/>
          <a:stretch>
            <a:fillRect/>
          </a:stretch>
        </p:blipFill>
        <p:spPr>
          <a:xfrm>
            <a:off x="11017963" y="3162151"/>
            <a:ext cx="458313" cy="458313"/>
          </a:xfrm>
          <a:prstGeom prst="rect">
            <a:avLst/>
          </a:prstGeom>
        </p:spPr>
      </p:pic>
      <p:pic>
        <p:nvPicPr>
          <p:cNvPr id="37" name="Picture 36">
            <a:extLst>
              <a:ext uri="{FF2B5EF4-FFF2-40B4-BE49-F238E27FC236}">
                <a16:creationId xmlns:a16="http://schemas.microsoft.com/office/drawing/2014/main" id="{155ED2C8-24B1-AE44-9BD3-C02EF9F80764}"/>
              </a:ext>
            </a:extLst>
          </p:cNvPr>
          <p:cNvPicPr>
            <a:picLocks noChangeAspect="1"/>
          </p:cNvPicPr>
          <p:nvPr userDrawn="1"/>
        </p:nvPicPr>
        <p:blipFill>
          <a:blip r:embed="rId4"/>
          <a:stretch>
            <a:fillRect/>
          </a:stretch>
        </p:blipFill>
        <p:spPr>
          <a:xfrm>
            <a:off x="11381354" y="5170767"/>
            <a:ext cx="371020" cy="371020"/>
          </a:xfrm>
          <a:prstGeom prst="rect">
            <a:avLst/>
          </a:prstGeom>
        </p:spPr>
      </p:pic>
      <p:pic>
        <p:nvPicPr>
          <p:cNvPr id="38" name="Picture 37">
            <a:extLst>
              <a:ext uri="{FF2B5EF4-FFF2-40B4-BE49-F238E27FC236}">
                <a16:creationId xmlns:a16="http://schemas.microsoft.com/office/drawing/2014/main" id="{642200E3-1727-F543-AE14-586D6EA49CE6}"/>
              </a:ext>
            </a:extLst>
          </p:cNvPr>
          <p:cNvPicPr>
            <a:picLocks noChangeAspect="1"/>
          </p:cNvPicPr>
          <p:nvPr userDrawn="1"/>
        </p:nvPicPr>
        <p:blipFill>
          <a:blip r:embed="rId4"/>
          <a:stretch>
            <a:fillRect/>
          </a:stretch>
        </p:blipFill>
        <p:spPr>
          <a:xfrm>
            <a:off x="346611" y="3434954"/>
            <a:ext cx="371020" cy="371020"/>
          </a:xfrm>
          <a:prstGeom prst="rect">
            <a:avLst/>
          </a:prstGeom>
        </p:spPr>
      </p:pic>
      <p:sp>
        <p:nvSpPr>
          <p:cNvPr id="39" name="Text Placeholder 17">
            <a:extLst>
              <a:ext uri="{FF2B5EF4-FFF2-40B4-BE49-F238E27FC236}">
                <a16:creationId xmlns:a16="http://schemas.microsoft.com/office/drawing/2014/main" id="{8759E3DC-F86E-4D47-BCD6-0DC2EB33CD44}"/>
              </a:ext>
            </a:extLst>
          </p:cNvPr>
          <p:cNvSpPr>
            <a:spLocks noGrp="1"/>
          </p:cNvSpPr>
          <p:nvPr>
            <p:ph type="body" sz="quarter" idx="24" hasCustomPrompt="1"/>
          </p:nvPr>
        </p:nvSpPr>
        <p:spPr>
          <a:xfrm>
            <a:off x="1239520" y="4397107"/>
            <a:ext cx="2994418" cy="1554829"/>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40" name="Text Placeholder 17">
            <a:extLst>
              <a:ext uri="{FF2B5EF4-FFF2-40B4-BE49-F238E27FC236}">
                <a16:creationId xmlns:a16="http://schemas.microsoft.com/office/drawing/2014/main" id="{FEA78190-AA09-7045-B30A-B821C343AEB7}"/>
              </a:ext>
            </a:extLst>
          </p:cNvPr>
          <p:cNvSpPr>
            <a:spLocks noGrp="1"/>
          </p:cNvSpPr>
          <p:nvPr>
            <p:ph type="body" sz="quarter" idx="25" hasCustomPrompt="1"/>
          </p:nvPr>
        </p:nvSpPr>
        <p:spPr>
          <a:xfrm>
            <a:off x="4599940" y="4397107"/>
            <a:ext cx="2994418" cy="1554829"/>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41" name="Text Placeholder 17">
            <a:extLst>
              <a:ext uri="{FF2B5EF4-FFF2-40B4-BE49-F238E27FC236}">
                <a16:creationId xmlns:a16="http://schemas.microsoft.com/office/drawing/2014/main" id="{E30DCFF3-8C08-0B49-816B-8FEA0F1D52FC}"/>
              </a:ext>
            </a:extLst>
          </p:cNvPr>
          <p:cNvSpPr>
            <a:spLocks noGrp="1"/>
          </p:cNvSpPr>
          <p:nvPr>
            <p:ph type="body" sz="quarter" idx="26" hasCustomPrompt="1"/>
          </p:nvPr>
        </p:nvSpPr>
        <p:spPr>
          <a:xfrm>
            <a:off x="7983220" y="4397107"/>
            <a:ext cx="2994418" cy="1554829"/>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21" name="Picture 20" descr="A picture containing text, clipart&#10;&#10;Description automatically generated">
            <a:extLst>
              <a:ext uri="{FF2B5EF4-FFF2-40B4-BE49-F238E27FC236}">
                <a16:creationId xmlns:a16="http://schemas.microsoft.com/office/drawing/2014/main" id="{6FF7CCCD-08F6-F643-BB2D-9F9A6741DBE3}"/>
              </a:ext>
            </a:extLst>
          </p:cNvPr>
          <p:cNvPicPr>
            <a:picLocks noChangeAspect="1"/>
          </p:cNvPicPr>
          <p:nvPr userDrawn="1"/>
        </p:nvPicPr>
        <p:blipFill>
          <a:blip r:embed="rId5"/>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41685459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65E32E-F1BA-1747-8C81-A178C534F19C}"/>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 name="Picture 17" descr="A close up of a logo&#10;&#10;Description automatically generated">
            <a:extLst>
              <a:ext uri="{FF2B5EF4-FFF2-40B4-BE49-F238E27FC236}">
                <a16:creationId xmlns:a16="http://schemas.microsoft.com/office/drawing/2014/main" id="{01B3FF8B-C63B-444D-B6F6-13A5FD9D582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0941" y="419548"/>
            <a:ext cx="2219932" cy="247625"/>
          </a:xfrm>
          <a:prstGeom prst="rect">
            <a:avLst/>
          </a:prstGeom>
        </p:spPr>
      </p:pic>
      <p:sp>
        <p:nvSpPr>
          <p:cNvPr id="19" name="Title 1">
            <a:extLst>
              <a:ext uri="{FF2B5EF4-FFF2-40B4-BE49-F238E27FC236}">
                <a16:creationId xmlns:a16="http://schemas.microsoft.com/office/drawing/2014/main" id="{D8513092-1603-F34D-B02A-109CB173BF58}"/>
              </a:ext>
            </a:extLst>
          </p:cNvPr>
          <p:cNvSpPr>
            <a:spLocks noGrp="1"/>
          </p:cNvSpPr>
          <p:nvPr>
            <p:ph type="ctrTitle" hasCustomPrompt="1"/>
          </p:nvPr>
        </p:nvSpPr>
        <p:spPr>
          <a:xfrm>
            <a:off x="851588" y="4794510"/>
            <a:ext cx="4906548" cy="685800"/>
          </a:xfrm>
          <a:prstGeom prst="rect">
            <a:avLst/>
          </a:prstGeom>
        </p:spPr>
        <p:txBody>
          <a:bodyPr lIns="0" tIns="0" rIns="0" bIns="0" anchor="t" anchorCtr="0"/>
          <a:lstStyle>
            <a:lvl1pPr algn="l">
              <a:defRPr sz="5500">
                <a:solidFill>
                  <a:schemeClr val="bg1"/>
                </a:solidFill>
              </a:defRPr>
            </a:lvl1pPr>
          </a:lstStyle>
          <a:p>
            <a:r>
              <a:rPr lang="en-US" dirty="0"/>
              <a:t>Click to edit title</a:t>
            </a:r>
          </a:p>
        </p:txBody>
      </p:sp>
      <p:sp>
        <p:nvSpPr>
          <p:cNvPr id="20" name="Subtitle 2">
            <a:extLst>
              <a:ext uri="{FF2B5EF4-FFF2-40B4-BE49-F238E27FC236}">
                <a16:creationId xmlns:a16="http://schemas.microsoft.com/office/drawing/2014/main" id="{D23C2446-5FFF-5A4C-B885-F4C27A769557}"/>
              </a:ext>
            </a:extLst>
          </p:cNvPr>
          <p:cNvSpPr>
            <a:spLocks noGrp="1"/>
          </p:cNvSpPr>
          <p:nvPr>
            <p:ph type="subTitle" idx="1" hasCustomPrompt="1"/>
          </p:nvPr>
        </p:nvSpPr>
        <p:spPr>
          <a:xfrm>
            <a:off x="851588" y="5550576"/>
            <a:ext cx="4906548" cy="365760"/>
          </a:xfrm>
          <a:prstGeom prst="rect">
            <a:avLst/>
          </a:prstGeom>
        </p:spPr>
        <p:txBody>
          <a:bodyPr vert="horz" lIns="0" rIns="0" bIns="0" anchor="t" anchorCtr="0">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pic>
        <p:nvPicPr>
          <p:cNvPr id="8" name="Picture 7" descr="A picture containing text&#10;&#10;Description automatically generated">
            <a:extLst>
              <a:ext uri="{FF2B5EF4-FFF2-40B4-BE49-F238E27FC236}">
                <a16:creationId xmlns:a16="http://schemas.microsoft.com/office/drawing/2014/main" id="{351E8EB6-C599-C742-8206-9720EF32B75E}"/>
              </a:ext>
            </a:extLst>
          </p:cNvPr>
          <p:cNvPicPr>
            <a:picLocks noChangeAspect="1"/>
          </p:cNvPicPr>
          <p:nvPr userDrawn="1"/>
        </p:nvPicPr>
        <p:blipFill>
          <a:blip r:embed="rId3"/>
          <a:stretch>
            <a:fillRect/>
          </a:stretch>
        </p:blipFill>
        <p:spPr>
          <a:xfrm>
            <a:off x="4824058" y="2195158"/>
            <a:ext cx="7378700" cy="4673600"/>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7D2236CB-2716-E744-8DFE-D67BAE272D53}"/>
              </a:ext>
            </a:extLst>
          </p:cNvPr>
          <p:cNvPicPr>
            <a:picLocks noChangeAspect="1"/>
          </p:cNvPicPr>
          <p:nvPr userDrawn="1"/>
        </p:nvPicPr>
        <p:blipFill>
          <a:blip r:embed="rId4"/>
          <a:stretch>
            <a:fillRect/>
          </a:stretch>
        </p:blipFill>
        <p:spPr>
          <a:xfrm>
            <a:off x="-10758" y="-10758"/>
            <a:ext cx="9448800" cy="3086100"/>
          </a:xfrm>
          <a:prstGeom prst="rect">
            <a:avLst/>
          </a:prstGeom>
        </p:spPr>
      </p:pic>
    </p:spTree>
    <p:extLst>
      <p:ext uri="{BB962C8B-B14F-4D97-AF65-F5344CB8AC3E}">
        <p14:creationId xmlns:p14="http://schemas.microsoft.com/office/powerpoint/2010/main" val="43190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side_Picture Slide_1">
    <p:spTree>
      <p:nvGrpSpPr>
        <p:cNvPr id="1" name=""/>
        <p:cNvGrpSpPr/>
        <p:nvPr/>
      </p:nvGrpSpPr>
      <p:grpSpPr>
        <a:xfrm>
          <a:off x="0" y="0"/>
          <a:ext cx="0" cy="0"/>
          <a:chOff x="0" y="0"/>
          <a:chExt cx="0" cy="0"/>
        </a:xfrm>
      </p:grpSpPr>
      <p:pic>
        <p:nvPicPr>
          <p:cNvPr id="9" name="Picture 8" descr="Shape&#10;&#10;Description automatically generated">
            <a:extLst>
              <a:ext uri="{FF2B5EF4-FFF2-40B4-BE49-F238E27FC236}">
                <a16:creationId xmlns:a16="http://schemas.microsoft.com/office/drawing/2014/main" id="{CCE34932-A2E8-134C-E9A6-B41C92073ECF}"/>
              </a:ext>
            </a:extLst>
          </p:cNvPr>
          <p:cNvPicPr>
            <a:picLocks noChangeAspect="1"/>
          </p:cNvPicPr>
          <p:nvPr userDrawn="1"/>
        </p:nvPicPr>
        <p:blipFill>
          <a:blip r:embed="rId2"/>
          <a:stretch>
            <a:fillRect/>
          </a:stretch>
        </p:blipFill>
        <p:spPr>
          <a:xfrm>
            <a:off x="0" y="4128654"/>
            <a:ext cx="4811445" cy="2729345"/>
          </a:xfrm>
          <a:prstGeom prst="rect">
            <a:avLst/>
          </a:prstGeom>
        </p:spPr>
      </p:pic>
      <p:pic>
        <p:nvPicPr>
          <p:cNvPr id="29" name="Picture 28" descr="Shape, circle&#10;&#10;Description automatically generated">
            <a:extLst>
              <a:ext uri="{FF2B5EF4-FFF2-40B4-BE49-F238E27FC236}">
                <a16:creationId xmlns:a16="http://schemas.microsoft.com/office/drawing/2014/main" id="{0F245FF7-4E22-5543-84E8-1A5ED570D6EF}"/>
              </a:ext>
            </a:extLst>
          </p:cNvPr>
          <p:cNvPicPr>
            <a:picLocks noChangeAspect="1"/>
          </p:cNvPicPr>
          <p:nvPr userDrawn="1"/>
        </p:nvPicPr>
        <p:blipFill rotWithShape="1">
          <a:blip r:embed="rId3"/>
          <a:srcRect r="3962"/>
          <a:stretch/>
        </p:blipFill>
        <p:spPr>
          <a:xfrm>
            <a:off x="5190903" y="-446314"/>
            <a:ext cx="7001097" cy="7315200"/>
          </a:xfrm>
          <a:prstGeom prst="rect">
            <a:avLst/>
          </a:prstGeom>
        </p:spPr>
      </p:pic>
      <p:sp>
        <p:nvSpPr>
          <p:cNvPr id="26" name="Picture Placeholder 25">
            <a:extLst>
              <a:ext uri="{FF2B5EF4-FFF2-40B4-BE49-F238E27FC236}">
                <a16:creationId xmlns:a16="http://schemas.microsoft.com/office/drawing/2014/main" id="{CA881496-2737-B942-80D2-B073B0E9FA15}"/>
              </a:ext>
            </a:extLst>
          </p:cNvPr>
          <p:cNvSpPr>
            <a:spLocks noGrp="1"/>
          </p:cNvSpPr>
          <p:nvPr>
            <p:ph type="pic" sz="quarter" idx="23"/>
          </p:nvPr>
        </p:nvSpPr>
        <p:spPr>
          <a:xfrm>
            <a:off x="6053185" y="-42792"/>
            <a:ext cx="6309446" cy="7092195"/>
          </a:xfrm>
          <a:custGeom>
            <a:avLst/>
            <a:gdLst>
              <a:gd name="connsiteX0" fmla="*/ 5542586 w 6400800"/>
              <a:gd name="connsiteY0" fmla="*/ 5779124 h 6873875"/>
              <a:gd name="connsiteX1" fmla="*/ 1513940 w 6400800"/>
              <a:gd name="connsiteY1" fmla="*/ 6357972 h 6873875"/>
              <a:gd name="connsiteX2" fmla="*/ 95197 w 6400800"/>
              <a:gd name="connsiteY2" fmla="*/ 2604901 h 6873875"/>
              <a:gd name="connsiteX3" fmla="*/ 3200400 w 6400800"/>
              <a:gd name="connsiteY3" fmla="*/ 0 h 6873875"/>
              <a:gd name="connsiteX4" fmla="*/ 5542586 w 6400800"/>
              <a:gd name="connsiteY4" fmla="*/ 5779124 h 6873875"/>
              <a:gd name="connsiteX0" fmla="*/ 5542814 w 6506965"/>
              <a:gd name="connsiteY0" fmla="*/ 5779124 h 6873977"/>
              <a:gd name="connsiteX1" fmla="*/ 1514168 w 6506965"/>
              <a:gd name="connsiteY1" fmla="*/ 6357972 h 6873977"/>
              <a:gd name="connsiteX2" fmla="*/ 95425 w 6506965"/>
              <a:gd name="connsiteY2" fmla="*/ 2604901 h 6873977"/>
              <a:gd name="connsiteX3" fmla="*/ 6346599 w 6506965"/>
              <a:gd name="connsiteY3" fmla="*/ 0 h 6873977"/>
              <a:gd name="connsiteX4" fmla="*/ 5542814 w 6506965"/>
              <a:gd name="connsiteY4" fmla="*/ 5779124 h 6873977"/>
              <a:gd name="connsiteX0" fmla="*/ 4779038 w 5743189"/>
              <a:gd name="connsiteY0" fmla="*/ 6441015 h 7576480"/>
              <a:gd name="connsiteX1" fmla="*/ 750392 w 5743189"/>
              <a:gd name="connsiteY1" fmla="*/ 7019863 h 7576480"/>
              <a:gd name="connsiteX2" fmla="*/ 169849 w 5743189"/>
              <a:gd name="connsiteY2" fmla="*/ 686878 h 7576480"/>
              <a:gd name="connsiteX3" fmla="*/ 5582823 w 5743189"/>
              <a:gd name="connsiteY3" fmla="*/ 661891 h 7576480"/>
              <a:gd name="connsiteX4" fmla="*/ 4779038 w 5743189"/>
              <a:gd name="connsiteY4" fmla="*/ 6441015 h 7576480"/>
              <a:gd name="connsiteX0" fmla="*/ 4867591 w 5831742"/>
              <a:gd name="connsiteY0" fmla="*/ 6441015 h 7099344"/>
              <a:gd name="connsiteX1" fmla="*/ 577688 w 5831742"/>
              <a:gd name="connsiteY1" fmla="*/ 6051034 h 7099344"/>
              <a:gd name="connsiteX2" fmla="*/ 258402 w 5831742"/>
              <a:gd name="connsiteY2" fmla="*/ 686878 h 7099344"/>
              <a:gd name="connsiteX3" fmla="*/ 5671376 w 5831742"/>
              <a:gd name="connsiteY3" fmla="*/ 661891 h 7099344"/>
              <a:gd name="connsiteX4" fmla="*/ 4867591 w 5831742"/>
              <a:gd name="connsiteY4" fmla="*/ 6441015 h 7099344"/>
              <a:gd name="connsiteX0" fmla="*/ 5789457 w 5955770"/>
              <a:gd name="connsiteY0" fmla="*/ 7475157 h 7919397"/>
              <a:gd name="connsiteX1" fmla="*/ 628697 w 5955770"/>
              <a:gd name="connsiteY1" fmla="*/ 6051034 h 7919397"/>
              <a:gd name="connsiteX2" fmla="*/ 309411 w 5955770"/>
              <a:gd name="connsiteY2" fmla="*/ 686878 h 7919397"/>
              <a:gd name="connsiteX3" fmla="*/ 5722385 w 5955770"/>
              <a:gd name="connsiteY3" fmla="*/ 661891 h 7919397"/>
              <a:gd name="connsiteX4" fmla="*/ 5789457 w 5955770"/>
              <a:gd name="connsiteY4" fmla="*/ 7475157 h 7919397"/>
              <a:gd name="connsiteX0" fmla="*/ 5789457 w 6080582"/>
              <a:gd name="connsiteY0" fmla="*/ 7475157 h 7919397"/>
              <a:gd name="connsiteX1" fmla="*/ 628697 w 6080582"/>
              <a:gd name="connsiteY1" fmla="*/ 6051034 h 7919397"/>
              <a:gd name="connsiteX2" fmla="*/ 309411 w 6080582"/>
              <a:gd name="connsiteY2" fmla="*/ 686878 h 7919397"/>
              <a:gd name="connsiteX3" fmla="*/ 5722385 w 6080582"/>
              <a:gd name="connsiteY3" fmla="*/ 661891 h 7919397"/>
              <a:gd name="connsiteX4" fmla="*/ 5789457 w 6080582"/>
              <a:gd name="connsiteY4" fmla="*/ 7475157 h 7919397"/>
              <a:gd name="connsiteX0" fmla="*/ 5789457 w 5789457"/>
              <a:gd name="connsiteY0" fmla="*/ 7475157 h 7919397"/>
              <a:gd name="connsiteX1" fmla="*/ 628697 w 5789457"/>
              <a:gd name="connsiteY1" fmla="*/ 6051034 h 7919397"/>
              <a:gd name="connsiteX2" fmla="*/ 309411 w 5789457"/>
              <a:gd name="connsiteY2" fmla="*/ 686878 h 7919397"/>
              <a:gd name="connsiteX3" fmla="*/ 5722385 w 5789457"/>
              <a:gd name="connsiteY3" fmla="*/ 661891 h 7919397"/>
              <a:gd name="connsiteX4" fmla="*/ 5789457 w 5789457"/>
              <a:gd name="connsiteY4" fmla="*/ 7475157 h 7919397"/>
              <a:gd name="connsiteX0" fmla="*/ 5789457 w 5837908"/>
              <a:gd name="connsiteY0" fmla="*/ 7480956 h 7925196"/>
              <a:gd name="connsiteX1" fmla="*/ 628697 w 5837908"/>
              <a:gd name="connsiteY1" fmla="*/ 6056833 h 7925196"/>
              <a:gd name="connsiteX2" fmla="*/ 309411 w 5837908"/>
              <a:gd name="connsiteY2" fmla="*/ 692677 h 7925196"/>
              <a:gd name="connsiteX3" fmla="*/ 5798585 w 5837908"/>
              <a:gd name="connsiteY3" fmla="*/ 645918 h 7925196"/>
              <a:gd name="connsiteX4" fmla="*/ 5789457 w 5837908"/>
              <a:gd name="connsiteY4" fmla="*/ 7480956 h 7925196"/>
              <a:gd name="connsiteX0" fmla="*/ 5795797 w 5844248"/>
              <a:gd name="connsiteY0" fmla="*/ 7488930 h 7933445"/>
              <a:gd name="connsiteX1" fmla="*/ 635037 w 5844248"/>
              <a:gd name="connsiteY1" fmla="*/ 6064807 h 7933445"/>
              <a:gd name="connsiteX2" fmla="*/ 304866 w 5844248"/>
              <a:gd name="connsiteY2" fmla="*/ 689766 h 7933445"/>
              <a:gd name="connsiteX3" fmla="*/ 5804925 w 5844248"/>
              <a:gd name="connsiteY3" fmla="*/ 653892 h 7933445"/>
              <a:gd name="connsiteX4" fmla="*/ 5795797 w 5844248"/>
              <a:gd name="connsiteY4" fmla="*/ 7488930 h 7933445"/>
              <a:gd name="connsiteX0" fmla="*/ 5795797 w 5844248"/>
              <a:gd name="connsiteY0" fmla="*/ 6835038 h 7279553"/>
              <a:gd name="connsiteX1" fmla="*/ 635037 w 5844248"/>
              <a:gd name="connsiteY1" fmla="*/ 5410915 h 7279553"/>
              <a:gd name="connsiteX2" fmla="*/ 304866 w 5844248"/>
              <a:gd name="connsiteY2" fmla="*/ 35874 h 7279553"/>
              <a:gd name="connsiteX3" fmla="*/ 5804925 w 5844248"/>
              <a:gd name="connsiteY3" fmla="*/ 0 h 7279553"/>
              <a:gd name="connsiteX4" fmla="*/ 5795797 w 5844248"/>
              <a:gd name="connsiteY4" fmla="*/ 6835038 h 7279553"/>
              <a:gd name="connsiteX0" fmla="*/ 6249964 w 6298415"/>
              <a:gd name="connsiteY0" fmla="*/ 6835038 h 7279553"/>
              <a:gd name="connsiteX1" fmla="*/ 1089204 w 6298415"/>
              <a:gd name="connsiteY1" fmla="*/ 5410915 h 7279553"/>
              <a:gd name="connsiteX2" fmla="*/ 759033 w 6298415"/>
              <a:gd name="connsiteY2" fmla="*/ 35874 h 7279553"/>
              <a:gd name="connsiteX3" fmla="*/ 6259092 w 6298415"/>
              <a:gd name="connsiteY3" fmla="*/ 0 h 7279553"/>
              <a:gd name="connsiteX4" fmla="*/ 6249964 w 6298415"/>
              <a:gd name="connsiteY4" fmla="*/ 6835038 h 7279553"/>
              <a:gd name="connsiteX0" fmla="*/ 6249964 w 6298415"/>
              <a:gd name="connsiteY0" fmla="*/ 6835038 h 7024594"/>
              <a:gd name="connsiteX1" fmla="*/ 1089204 w 6298415"/>
              <a:gd name="connsiteY1" fmla="*/ 5410915 h 7024594"/>
              <a:gd name="connsiteX2" fmla="*/ 759033 w 6298415"/>
              <a:gd name="connsiteY2" fmla="*/ 35874 h 7024594"/>
              <a:gd name="connsiteX3" fmla="*/ 6259092 w 6298415"/>
              <a:gd name="connsiteY3" fmla="*/ 0 h 7024594"/>
              <a:gd name="connsiteX4" fmla="*/ 6249964 w 6298415"/>
              <a:gd name="connsiteY4" fmla="*/ 6835038 h 7024594"/>
              <a:gd name="connsiteX0" fmla="*/ 6249964 w 6298415"/>
              <a:gd name="connsiteY0" fmla="*/ 6900353 h 7083219"/>
              <a:gd name="connsiteX1" fmla="*/ 1089204 w 6298415"/>
              <a:gd name="connsiteY1" fmla="*/ 5410915 h 7083219"/>
              <a:gd name="connsiteX2" fmla="*/ 759033 w 6298415"/>
              <a:gd name="connsiteY2" fmla="*/ 35874 h 7083219"/>
              <a:gd name="connsiteX3" fmla="*/ 6259092 w 6298415"/>
              <a:gd name="connsiteY3" fmla="*/ 0 h 7083219"/>
              <a:gd name="connsiteX4" fmla="*/ 6249964 w 6298415"/>
              <a:gd name="connsiteY4" fmla="*/ 6900353 h 7083219"/>
              <a:gd name="connsiteX0" fmla="*/ 6249964 w 6298415"/>
              <a:gd name="connsiteY0" fmla="*/ 6900353 h 6992123"/>
              <a:gd name="connsiteX1" fmla="*/ 1089204 w 6298415"/>
              <a:gd name="connsiteY1" fmla="*/ 5410915 h 6992123"/>
              <a:gd name="connsiteX2" fmla="*/ 759033 w 6298415"/>
              <a:gd name="connsiteY2" fmla="*/ 35874 h 6992123"/>
              <a:gd name="connsiteX3" fmla="*/ 6259092 w 6298415"/>
              <a:gd name="connsiteY3" fmla="*/ 0 h 6992123"/>
              <a:gd name="connsiteX4" fmla="*/ 6249964 w 6298415"/>
              <a:gd name="connsiteY4" fmla="*/ 6900353 h 6992123"/>
              <a:gd name="connsiteX0" fmla="*/ 6260995 w 6309446"/>
              <a:gd name="connsiteY0" fmla="*/ 6900353 h 6988646"/>
              <a:gd name="connsiteX1" fmla="*/ 1067578 w 6309446"/>
              <a:gd name="connsiteY1" fmla="*/ 5367372 h 6988646"/>
              <a:gd name="connsiteX2" fmla="*/ 770064 w 6309446"/>
              <a:gd name="connsiteY2" fmla="*/ 35874 h 6988646"/>
              <a:gd name="connsiteX3" fmla="*/ 6270123 w 6309446"/>
              <a:gd name="connsiteY3" fmla="*/ 0 h 6988646"/>
              <a:gd name="connsiteX4" fmla="*/ 6260995 w 6309446"/>
              <a:gd name="connsiteY4" fmla="*/ 6900353 h 6988646"/>
              <a:gd name="connsiteX0" fmla="*/ 6260995 w 6309446"/>
              <a:gd name="connsiteY0" fmla="*/ 6900353 h 7008134"/>
              <a:gd name="connsiteX1" fmla="*/ 1067578 w 6309446"/>
              <a:gd name="connsiteY1" fmla="*/ 5367372 h 7008134"/>
              <a:gd name="connsiteX2" fmla="*/ 770064 w 6309446"/>
              <a:gd name="connsiteY2" fmla="*/ 35874 h 7008134"/>
              <a:gd name="connsiteX3" fmla="*/ 6270123 w 6309446"/>
              <a:gd name="connsiteY3" fmla="*/ 0 h 7008134"/>
              <a:gd name="connsiteX4" fmla="*/ 6260995 w 6309446"/>
              <a:gd name="connsiteY4" fmla="*/ 6900353 h 7008134"/>
              <a:gd name="connsiteX0" fmla="*/ 6260995 w 6309446"/>
              <a:gd name="connsiteY0" fmla="*/ 6900353 h 7085361"/>
              <a:gd name="connsiteX1" fmla="*/ 1067578 w 6309446"/>
              <a:gd name="connsiteY1" fmla="*/ 5367372 h 7085361"/>
              <a:gd name="connsiteX2" fmla="*/ 770064 w 6309446"/>
              <a:gd name="connsiteY2" fmla="*/ 35874 h 7085361"/>
              <a:gd name="connsiteX3" fmla="*/ 6270123 w 6309446"/>
              <a:gd name="connsiteY3" fmla="*/ 0 h 7085361"/>
              <a:gd name="connsiteX4" fmla="*/ 6260995 w 6309446"/>
              <a:gd name="connsiteY4" fmla="*/ 6900353 h 7085361"/>
              <a:gd name="connsiteX0" fmla="*/ 6260995 w 6309446"/>
              <a:gd name="connsiteY0" fmla="*/ 6900353 h 7092195"/>
              <a:gd name="connsiteX1" fmla="*/ 1067578 w 6309446"/>
              <a:gd name="connsiteY1" fmla="*/ 5367372 h 7092195"/>
              <a:gd name="connsiteX2" fmla="*/ 770064 w 6309446"/>
              <a:gd name="connsiteY2" fmla="*/ 35874 h 7092195"/>
              <a:gd name="connsiteX3" fmla="*/ 6270123 w 6309446"/>
              <a:gd name="connsiteY3" fmla="*/ 0 h 7092195"/>
              <a:gd name="connsiteX4" fmla="*/ 6260995 w 6309446"/>
              <a:gd name="connsiteY4" fmla="*/ 6900353 h 709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446" h="7092195">
                <a:moveTo>
                  <a:pt x="6260995" y="6900353"/>
                </a:moveTo>
                <a:cubicBezTo>
                  <a:pt x="3744791" y="7527740"/>
                  <a:pt x="1982733" y="6511452"/>
                  <a:pt x="1067578" y="5367372"/>
                </a:cubicBezTo>
                <a:cubicBezTo>
                  <a:pt x="152423" y="4223292"/>
                  <a:pt x="-644321" y="2225287"/>
                  <a:pt x="770064" y="35874"/>
                </a:cubicBezTo>
                <a:cubicBezTo>
                  <a:pt x="1071287" y="18224"/>
                  <a:pt x="4801011" y="0"/>
                  <a:pt x="6270123" y="0"/>
                </a:cubicBezTo>
                <a:cubicBezTo>
                  <a:pt x="6375937" y="1980804"/>
                  <a:pt x="6231380" y="4690949"/>
                  <a:pt x="6260995" y="6900353"/>
                </a:cubicBezTo>
                <a:close/>
              </a:path>
            </a:pathLst>
          </a:custGeom>
          <a:solidFill>
            <a:schemeClr val="bg2">
              <a:lumMod val="75000"/>
            </a:schemeClr>
          </a:solidFill>
        </p:spPr>
        <p:txBody>
          <a:bodyPr/>
          <a:lstStyle/>
          <a:p>
            <a:endParaRPr lang="en-MX"/>
          </a:p>
        </p:txBody>
      </p:sp>
      <p:sp>
        <p:nvSpPr>
          <p:cNvPr id="5" name="Title 6">
            <a:extLst>
              <a:ext uri="{FF2B5EF4-FFF2-40B4-BE49-F238E27FC236}">
                <a16:creationId xmlns:a16="http://schemas.microsoft.com/office/drawing/2014/main" id="{8D8CF1D5-E210-8E46-8D24-E99B85A89526}"/>
              </a:ext>
            </a:extLst>
          </p:cNvPr>
          <p:cNvSpPr>
            <a:spLocks noGrp="1"/>
          </p:cNvSpPr>
          <p:nvPr>
            <p:ph type="title"/>
          </p:nvPr>
        </p:nvSpPr>
        <p:spPr>
          <a:xfrm>
            <a:off x="841652" y="1228637"/>
            <a:ext cx="4339948"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0" name="Text Placeholder 17">
            <a:extLst>
              <a:ext uri="{FF2B5EF4-FFF2-40B4-BE49-F238E27FC236}">
                <a16:creationId xmlns:a16="http://schemas.microsoft.com/office/drawing/2014/main" id="{5FD2ADC0-E936-2E42-A145-A65A679D5586}"/>
              </a:ext>
            </a:extLst>
          </p:cNvPr>
          <p:cNvSpPr>
            <a:spLocks noGrp="1"/>
          </p:cNvSpPr>
          <p:nvPr>
            <p:ph type="body" sz="quarter" idx="22" hasCustomPrompt="1"/>
          </p:nvPr>
        </p:nvSpPr>
        <p:spPr>
          <a:xfrm>
            <a:off x="841651" y="2574004"/>
            <a:ext cx="4339949" cy="3250858"/>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1" name="Picture 10" descr="A picture containing text, clipart&#10;&#10;Description automatically generated">
            <a:extLst>
              <a:ext uri="{FF2B5EF4-FFF2-40B4-BE49-F238E27FC236}">
                <a16:creationId xmlns:a16="http://schemas.microsoft.com/office/drawing/2014/main" id="{F6B6972D-2CBD-B745-AA3F-8A10F6468D06}"/>
              </a:ext>
            </a:extLst>
          </p:cNvPr>
          <p:cNvPicPr>
            <a:picLocks noChangeAspect="1"/>
          </p:cNvPicPr>
          <p:nvPr userDrawn="1"/>
        </p:nvPicPr>
        <p:blipFill>
          <a:blip r:embed="rId4"/>
          <a:stretch>
            <a:fillRect/>
          </a:stretch>
        </p:blipFill>
        <p:spPr>
          <a:xfrm>
            <a:off x="380103" y="381651"/>
            <a:ext cx="1738361" cy="194422"/>
          </a:xfrm>
          <a:prstGeom prst="rect">
            <a:avLst/>
          </a:prstGeom>
        </p:spPr>
      </p:pic>
      <p:sp>
        <p:nvSpPr>
          <p:cNvPr id="32" name="Text Placeholder 16">
            <a:extLst>
              <a:ext uri="{FF2B5EF4-FFF2-40B4-BE49-F238E27FC236}">
                <a16:creationId xmlns:a16="http://schemas.microsoft.com/office/drawing/2014/main" id="{ADB92850-2044-D74D-9009-1B2C9422985E}"/>
              </a:ext>
            </a:extLst>
          </p:cNvPr>
          <p:cNvSpPr>
            <a:spLocks noGrp="1"/>
          </p:cNvSpPr>
          <p:nvPr>
            <p:ph type="body" sz="quarter" idx="10" hasCustomPrompt="1"/>
          </p:nvPr>
        </p:nvSpPr>
        <p:spPr>
          <a:xfrm>
            <a:off x="841651" y="1850571"/>
            <a:ext cx="4349252" cy="289589"/>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Tree>
    <p:extLst>
      <p:ext uri="{BB962C8B-B14F-4D97-AF65-F5344CB8AC3E}">
        <p14:creationId xmlns:p14="http://schemas.microsoft.com/office/powerpoint/2010/main" val="17995214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side_Picture Slide_2">
    <p:spTree>
      <p:nvGrpSpPr>
        <p:cNvPr id="1" name=""/>
        <p:cNvGrpSpPr/>
        <p:nvPr/>
      </p:nvGrpSpPr>
      <p:grpSpPr>
        <a:xfrm>
          <a:off x="0" y="0"/>
          <a:ext cx="0" cy="0"/>
          <a:chOff x="0" y="0"/>
          <a:chExt cx="0" cy="0"/>
        </a:xfrm>
      </p:grpSpPr>
      <p:pic>
        <p:nvPicPr>
          <p:cNvPr id="13" name="Picture 12" descr="Shape&#10;&#10;Description automatically generated">
            <a:extLst>
              <a:ext uri="{FF2B5EF4-FFF2-40B4-BE49-F238E27FC236}">
                <a16:creationId xmlns:a16="http://schemas.microsoft.com/office/drawing/2014/main" id="{C7BD86A1-F616-A84E-96E4-440A9FCE7BD6}"/>
              </a:ext>
            </a:extLst>
          </p:cNvPr>
          <p:cNvPicPr>
            <a:picLocks noChangeAspect="1"/>
          </p:cNvPicPr>
          <p:nvPr userDrawn="1"/>
        </p:nvPicPr>
        <p:blipFill rotWithShape="1">
          <a:blip r:embed="rId2"/>
          <a:srcRect l="21276" b="14812"/>
          <a:stretch/>
        </p:blipFill>
        <p:spPr>
          <a:xfrm>
            <a:off x="-29068" y="2703542"/>
            <a:ext cx="4989004" cy="4154458"/>
          </a:xfrm>
          <a:prstGeom prst="rect">
            <a:avLst/>
          </a:prstGeom>
        </p:spPr>
      </p:pic>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9" name="Text Placeholder 20">
            <a:extLst>
              <a:ext uri="{FF2B5EF4-FFF2-40B4-BE49-F238E27FC236}">
                <a16:creationId xmlns:a16="http://schemas.microsoft.com/office/drawing/2014/main" id="{3DD58379-5DB8-7C4F-88D3-025F2CD94BF8}"/>
              </a:ext>
            </a:extLst>
          </p:cNvPr>
          <p:cNvSpPr>
            <a:spLocks noGrp="1"/>
          </p:cNvSpPr>
          <p:nvPr>
            <p:ph type="body" sz="quarter" idx="13" hasCustomPrompt="1"/>
          </p:nvPr>
        </p:nvSpPr>
        <p:spPr>
          <a:xfrm>
            <a:off x="6609445" y="2474386"/>
            <a:ext cx="4749800" cy="458313"/>
          </a:xfrm>
        </p:spPr>
        <p:txBody>
          <a:bodyPr>
            <a:normAutofit/>
          </a:bodyPr>
          <a:lstStyle>
            <a:lvl1pPr>
              <a:buNone/>
              <a:defRPr sz="2500">
                <a:solidFill>
                  <a:srgbClr val="2DB035"/>
                </a:solidFill>
              </a:defRPr>
            </a:lvl1pPr>
          </a:lstStyle>
          <a:p>
            <a:pPr lvl="0"/>
            <a:r>
              <a:rPr lang="en-US" dirty="0"/>
              <a:t>Title</a:t>
            </a:r>
          </a:p>
        </p:txBody>
      </p:sp>
      <p:sp>
        <p:nvSpPr>
          <p:cNvPr id="11" name="Text Placeholder 17">
            <a:extLst>
              <a:ext uri="{FF2B5EF4-FFF2-40B4-BE49-F238E27FC236}">
                <a16:creationId xmlns:a16="http://schemas.microsoft.com/office/drawing/2014/main" id="{C99F3682-4090-2643-BC8A-708ADEA79C81}"/>
              </a:ext>
            </a:extLst>
          </p:cNvPr>
          <p:cNvSpPr>
            <a:spLocks noGrp="1"/>
          </p:cNvSpPr>
          <p:nvPr>
            <p:ph type="body" sz="quarter" idx="22" hasCustomPrompt="1"/>
          </p:nvPr>
        </p:nvSpPr>
        <p:spPr>
          <a:xfrm>
            <a:off x="6609445" y="3087869"/>
            <a:ext cx="4749800" cy="2750223"/>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5" name="Picture Placeholder 4">
            <a:extLst>
              <a:ext uri="{FF2B5EF4-FFF2-40B4-BE49-F238E27FC236}">
                <a16:creationId xmlns:a16="http://schemas.microsoft.com/office/drawing/2014/main" id="{B88F2A6B-6D6B-4B44-A832-AF141539F28F}"/>
              </a:ext>
            </a:extLst>
          </p:cNvPr>
          <p:cNvSpPr>
            <a:spLocks noGrp="1"/>
          </p:cNvSpPr>
          <p:nvPr>
            <p:ph type="pic" sz="quarter" idx="23"/>
          </p:nvPr>
        </p:nvSpPr>
        <p:spPr>
          <a:xfrm>
            <a:off x="-29068" y="2884756"/>
            <a:ext cx="4322298" cy="4086388"/>
          </a:xfrm>
          <a:custGeom>
            <a:avLst/>
            <a:gdLst>
              <a:gd name="connsiteX0" fmla="*/ 4110264 w 4973638"/>
              <a:gd name="connsiteY0" fmla="*/ 3766570 h 4286250"/>
              <a:gd name="connsiteX1" fmla="*/ 1379033 w 4973638"/>
              <a:gd name="connsiteY1" fmla="*/ 4061866 h 4286250"/>
              <a:gd name="connsiteX2" fmla="*/ 112134 w 4973638"/>
              <a:gd name="connsiteY2" fmla="*/ 1506830 h 4286250"/>
              <a:gd name="connsiteX3" fmla="*/ 2486818 w 4973638"/>
              <a:gd name="connsiteY3" fmla="*/ 0 h 4286250"/>
              <a:gd name="connsiteX4" fmla="*/ 4110264 w 4973638"/>
              <a:gd name="connsiteY4" fmla="*/ 3766570 h 4286250"/>
              <a:gd name="connsiteX0" fmla="*/ 4197538 w 4197538"/>
              <a:gd name="connsiteY0" fmla="*/ 3896110 h 4492049"/>
              <a:gd name="connsiteX1" fmla="*/ 1466307 w 4197538"/>
              <a:gd name="connsiteY1" fmla="*/ 4191406 h 4492049"/>
              <a:gd name="connsiteX2" fmla="*/ 73028 w 4197538"/>
              <a:gd name="connsiteY2" fmla="*/ 543551 h 4492049"/>
              <a:gd name="connsiteX3" fmla="*/ 2574092 w 4197538"/>
              <a:gd name="connsiteY3" fmla="*/ 129540 h 4492049"/>
              <a:gd name="connsiteX4" fmla="*/ 4197538 w 4197538"/>
              <a:gd name="connsiteY4" fmla="*/ 3896110 h 4492049"/>
              <a:gd name="connsiteX0" fmla="*/ 4534385 w 4534385"/>
              <a:gd name="connsiteY0" fmla="*/ 3896110 h 4661190"/>
              <a:gd name="connsiteX1" fmla="*/ 398100 w 4534385"/>
              <a:gd name="connsiteY1" fmla="*/ 4421864 h 4661190"/>
              <a:gd name="connsiteX2" fmla="*/ 409875 w 4534385"/>
              <a:gd name="connsiteY2" fmla="*/ 543551 h 4661190"/>
              <a:gd name="connsiteX3" fmla="*/ 2910939 w 4534385"/>
              <a:gd name="connsiteY3" fmla="*/ 129540 h 4661190"/>
              <a:gd name="connsiteX4" fmla="*/ 4534385 w 4534385"/>
              <a:gd name="connsiteY4" fmla="*/ 3896110 h 4661190"/>
              <a:gd name="connsiteX0" fmla="*/ 4566218 w 4566218"/>
              <a:gd name="connsiteY0" fmla="*/ 4401632 h 4865224"/>
              <a:gd name="connsiteX1" fmla="*/ 400196 w 4566218"/>
              <a:gd name="connsiteY1" fmla="*/ 4421864 h 4865224"/>
              <a:gd name="connsiteX2" fmla="*/ 411971 w 4566218"/>
              <a:gd name="connsiteY2" fmla="*/ 543551 h 4865224"/>
              <a:gd name="connsiteX3" fmla="*/ 2913035 w 4566218"/>
              <a:gd name="connsiteY3" fmla="*/ 129540 h 4865224"/>
              <a:gd name="connsiteX4" fmla="*/ 4566218 w 4566218"/>
              <a:gd name="connsiteY4" fmla="*/ 4401632 h 4865224"/>
              <a:gd name="connsiteX0" fmla="*/ 4566218 w 4714775"/>
              <a:gd name="connsiteY0" fmla="*/ 4401632 h 4865224"/>
              <a:gd name="connsiteX1" fmla="*/ 400196 w 4714775"/>
              <a:gd name="connsiteY1" fmla="*/ 4421864 h 4865224"/>
              <a:gd name="connsiteX2" fmla="*/ 411971 w 4714775"/>
              <a:gd name="connsiteY2" fmla="*/ 543551 h 4865224"/>
              <a:gd name="connsiteX3" fmla="*/ 2913035 w 4714775"/>
              <a:gd name="connsiteY3" fmla="*/ 129540 h 4865224"/>
              <a:gd name="connsiteX4" fmla="*/ 4566218 w 4714775"/>
              <a:gd name="connsiteY4" fmla="*/ 4401632 h 4865224"/>
              <a:gd name="connsiteX0" fmla="*/ 4566218 w 4702821"/>
              <a:gd name="connsiteY0" fmla="*/ 4246407 h 4709999"/>
              <a:gd name="connsiteX1" fmla="*/ 400196 w 4702821"/>
              <a:gd name="connsiteY1" fmla="*/ 4266639 h 4709999"/>
              <a:gd name="connsiteX2" fmla="*/ 411971 w 4702821"/>
              <a:gd name="connsiteY2" fmla="*/ 388326 h 4709999"/>
              <a:gd name="connsiteX3" fmla="*/ 2712313 w 4702821"/>
              <a:gd name="connsiteY3" fmla="*/ 427798 h 4709999"/>
              <a:gd name="connsiteX4" fmla="*/ 4566218 w 4702821"/>
              <a:gd name="connsiteY4" fmla="*/ 4246407 h 4709999"/>
              <a:gd name="connsiteX0" fmla="*/ 4566218 w 4726514"/>
              <a:gd name="connsiteY0" fmla="*/ 4246407 h 4709999"/>
              <a:gd name="connsiteX1" fmla="*/ 400196 w 4726514"/>
              <a:gd name="connsiteY1" fmla="*/ 4266639 h 4709999"/>
              <a:gd name="connsiteX2" fmla="*/ 411971 w 4726514"/>
              <a:gd name="connsiteY2" fmla="*/ 388326 h 4709999"/>
              <a:gd name="connsiteX3" fmla="*/ 2712313 w 4726514"/>
              <a:gd name="connsiteY3" fmla="*/ 427798 h 4709999"/>
              <a:gd name="connsiteX4" fmla="*/ 4566218 w 4726514"/>
              <a:gd name="connsiteY4" fmla="*/ 4246407 h 4709999"/>
              <a:gd name="connsiteX0" fmla="*/ 4569610 w 4729906"/>
              <a:gd name="connsiteY0" fmla="*/ 4257640 h 4722205"/>
              <a:gd name="connsiteX1" fmla="*/ 403588 w 4729906"/>
              <a:gd name="connsiteY1" fmla="*/ 4277872 h 4722205"/>
              <a:gd name="connsiteX2" fmla="*/ 407929 w 4729906"/>
              <a:gd name="connsiteY2" fmla="*/ 384690 h 4722205"/>
              <a:gd name="connsiteX3" fmla="*/ 2715705 w 4729906"/>
              <a:gd name="connsiteY3" fmla="*/ 439031 h 4722205"/>
              <a:gd name="connsiteX4" fmla="*/ 4569610 w 4729906"/>
              <a:gd name="connsiteY4" fmla="*/ 4257640 h 4722205"/>
              <a:gd name="connsiteX0" fmla="*/ 4569610 w 4729906"/>
              <a:gd name="connsiteY0" fmla="*/ 3958249 h 4422814"/>
              <a:gd name="connsiteX1" fmla="*/ 403588 w 4729906"/>
              <a:gd name="connsiteY1" fmla="*/ 3978481 h 4422814"/>
              <a:gd name="connsiteX2" fmla="*/ 407929 w 4729906"/>
              <a:gd name="connsiteY2" fmla="*/ 85299 h 4422814"/>
              <a:gd name="connsiteX3" fmla="*/ 2715705 w 4729906"/>
              <a:gd name="connsiteY3" fmla="*/ 139640 h 4422814"/>
              <a:gd name="connsiteX4" fmla="*/ 4569610 w 4729906"/>
              <a:gd name="connsiteY4" fmla="*/ 3958249 h 4422814"/>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3967889 h 4432454"/>
              <a:gd name="connsiteX1" fmla="*/ 403588 w 4729906"/>
              <a:gd name="connsiteY1" fmla="*/ 3988121 h 4432454"/>
              <a:gd name="connsiteX2" fmla="*/ 407929 w 4729906"/>
              <a:gd name="connsiteY2" fmla="*/ 94939 h 4432454"/>
              <a:gd name="connsiteX3" fmla="*/ 2715705 w 4729906"/>
              <a:gd name="connsiteY3" fmla="*/ 149280 h 4432454"/>
              <a:gd name="connsiteX4" fmla="*/ 4569610 w 4729906"/>
              <a:gd name="connsiteY4" fmla="*/ 3967889 h 4432454"/>
              <a:gd name="connsiteX0" fmla="*/ 4569610 w 4729906"/>
              <a:gd name="connsiteY0" fmla="*/ 3961147 h 4425712"/>
              <a:gd name="connsiteX1" fmla="*/ 403588 w 4729906"/>
              <a:gd name="connsiteY1" fmla="*/ 3981379 h 4425712"/>
              <a:gd name="connsiteX2" fmla="*/ 407929 w 4729906"/>
              <a:gd name="connsiteY2" fmla="*/ 88197 h 4425712"/>
              <a:gd name="connsiteX3" fmla="*/ 2715705 w 4729906"/>
              <a:gd name="connsiteY3" fmla="*/ 142538 h 4425712"/>
              <a:gd name="connsiteX4" fmla="*/ 4569610 w 4729906"/>
              <a:gd name="connsiteY4" fmla="*/ 3961147 h 4425712"/>
              <a:gd name="connsiteX0" fmla="*/ 4569610 w 4731390"/>
              <a:gd name="connsiteY0" fmla="*/ 3955154 h 4419719"/>
              <a:gd name="connsiteX1" fmla="*/ 403588 w 4731390"/>
              <a:gd name="connsiteY1" fmla="*/ 3975386 h 4419719"/>
              <a:gd name="connsiteX2" fmla="*/ 407929 w 4731390"/>
              <a:gd name="connsiteY2" fmla="*/ 82204 h 4419719"/>
              <a:gd name="connsiteX3" fmla="*/ 2735583 w 4731390"/>
              <a:gd name="connsiteY3" fmla="*/ 151454 h 4419719"/>
              <a:gd name="connsiteX4" fmla="*/ 4569610 w 4731390"/>
              <a:gd name="connsiteY4" fmla="*/ 3955154 h 4419719"/>
              <a:gd name="connsiteX0" fmla="*/ 4569610 w 4729906"/>
              <a:gd name="connsiteY0" fmla="*/ 3959089 h 4423654"/>
              <a:gd name="connsiteX1" fmla="*/ 403588 w 4729906"/>
              <a:gd name="connsiteY1" fmla="*/ 3979321 h 4423654"/>
              <a:gd name="connsiteX2" fmla="*/ 407929 w 4729906"/>
              <a:gd name="connsiteY2" fmla="*/ 86139 h 4423654"/>
              <a:gd name="connsiteX3" fmla="*/ 2715705 w 4729906"/>
              <a:gd name="connsiteY3" fmla="*/ 145450 h 4423654"/>
              <a:gd name="connsiteX4" fmla="*/ 4569610 w 4729906"/>
              <a:gd name="connsiteY4" fmla="*/ 3959089 h 4423654"/>
              <a:gd name="connsiteX0" fmla="*/ 4553655 w 4715061"/>
              <a:gd name="connsiteY0" fmla="*/ 3964058 h 4426283"/>
              <a:gd name="connsiteX1" fmla="*/ 402542 w 4715061"/>
              <a:gd name="connsiteY1" fmla="*/ 3979321 h 4426283"/>
              <a:gd name="connsiteX2" fmla="*/ 406883 w 4715061"/>
              <a:gd name="connsiteY2" fmla="*/ 86139 h 4426283"/>
              <a:gd name="connsiteX3" fmla="*/ 2714659 w 4715061"/>
              <a:gd name="connsiteY3" fmla="*/ 145450 h 4426283"/>
              <a:gd name="connsiteX4" fmla="*/ 4553655 w 4715061"/>
              <a:gd name="connsiteY4" fmla="*/ 3964058 h 4426283"/>
              <a:gd name="connsiteX0" fmla="*/ 4553655 w 4720275"/>
              <a:gd name="connsiteY0" fmla="*/ 3964058 h 4426283"/>
              <a:gd name="connsiteX1" fmla="*/ 402542 w 4720275"/>
              <a:gd name="connsiteY1" fmla="*/ 3979321 h 4426283"/>
              <a:gd name="connsiteX2" fmla="*/ 406883 w 4720275"/>
              <a:gd name="connsiteY2" fmla="*/ 86139 h 4426283"/>
              <a:gd name="connsiteX3" fmla="*/ 2714659 w 4720275"/>
              <a:gd name="connsiteY3" fmla="*/ 145450 h 4426283"/>
              <a:gd name="connsiteX4" fmla="*/ 4553655 w 4720275"/>
              <a:gd name="connsiteY4" fmla="*/ 3964058 h 4426283"/>
              <a:gd name="connsiteX0" fmla="*/ 4319549 w 4486169"/>
              <a:gd name="connsiteY0" fmla="*/ 3964058 h 4546245"/>
              <a:gd name="connsiteX1" fmla="*/ 168436 w 4486169"/>
              <a:gd name="connsiteY1" fmla="*/ 3979321 h 4546245"/>
              <a:gd name="connsiteX2" fmla="*/ 172777 w 4486169"/>
              <a:gd name="connsiteY2" fmla="*/ 86139 h 4546245"/>
              <a:gd name="connsiteX3" fmla="*/ 2480553 w 4486169"/>
              <a:gd name="connsiteY3" fmla="*/ 145450 h 4546245"/>
              <a:gd name="connsiteX4" fmla="*/ 4319549 w 4486169"/>
              <a:gd name="connsiteY4" fmla="*/ 3964058 h 4546245"/>
              <a:gd name="connsiteX0" fmla="*/ 4364562 w 4531182"/>
              <a:gd name="connsiteY0" fmla="*/ 3964058 h 4249930"/>
              <a:gd name="connsiteX1" fmla="*/ 213449 w 4531182"/>
              <a:gd name="connsiteY1" fmla="*/ 3979321 h 4249930"/>
              <a:gd name="connsiteX2" fmla="*/ 217790 w 4531182"/>
              <a:gd name="connsiteY2" fmla="*/ 86139 h 4249930"/>
              <a:gd name="connsiteX3" fmla="*/ 2525566 w 4531182"/>
              <a:gd name="connsiteY3" fmla="*/ 145450 h 4249930"/>
              <a:gd name="connsiteX4" fmla="*/ 4364562 w 4531182"/>
              <a:gd name="connsiteY4" fmla="*/ 3964058 h 4249930"/>
              <a:gd name="connsiteX0" fmla="*/ 4364562 w 4531182"/>
              <a:gd name="connsiteY0" fmla="*/ 3964058 h 4075864"/>
              <a:gd name="connsiteX1" fmla="*/ 213449 w 4531182"/>
              <a:gd name="connsiteY1" fmla="*/ 3979321 h 4075864"/>
              <a:gd name="connsiteX2" fmla="*/ 217790 w 4531182"/>
              <a:gd name="connsiteY2" fmla="*/ 86139 h 4075864"/>
              <a:gd name="connsiteX3" fmla="*/ 2525566 w 4531182"/>
              <a:gd name="connsiteY3" fmla="*/ 145450 h 4075864"/>
              <a:gd name="connsiteX4" fmla="*/ 4364562 w 4531182"/>
              <a:gd name="connsiteY4" fmla="*/ 3964058 h 4075864"/>
              <a:gd name="connsiteX0" fmla="*/ 4545978 w 4713148"/>
              <a:gd name="connsiteY0" fmla="*/ 3985573 h 4306667"/>
              <a:gd name="connsiteX1" fmla="*/ 402037 w 4713148"/>
              <a:gd name="connsiteY1" fmla="*/ 3979321 h 4306667"/>
              <a:gd name="connsiteX2" fmla="*/ 406378 w 4713148"/>
              <a:gd name="connsiteY2" fmla="*/ 86139 h 4306667"/>
              <a:gd name="connsiteX3" fmla="*/ 2714154 w 4713148"/>
              <a:gd name="connsiteY3" fmla="*/ 145450 h 4306667"/>
              <a:gd name="connsiteX4" fmla="*/ 4545978 w 4713148"/>
              <a:gd name="connsiteY4" fmla="*/ 3985573 h 4306667"/>
              <a:gd name="connsiteX0" fmla="*/ 4511441 w 4681129"/>
              <a:gd name="connsiteY0" fmla="*/ 4032190 h 4325515"/>
              <a:gd name="connsiteX1" fmla="*/ 399773 w 4681129"/>
              <a:gd name="connsiteY1" fmla="*/ 3979321 h 4325515"/>
              <a:gd name="connsiteX2" fmla="*/ 404114 w 4681129"/>
              <a:gd name="connsiteY2" fmla="*/ 86139 h 4325515"/>
              <a:gd name="connsiteX3" fmla="*/ 2711890 w 4681129"/>
              <a:gd name="connsiteY3" fmla="*/ 145450 h 4325515"/>
              <a:gd name="connsiteX4" fmla="*/ 4511441 w 4681129"/>
              <a:gd name="connsiteY4" fmla="*/ 4032190 h 4325515"/>
              <a:gd name="connsiteX0" fmla="*/ 4511441 w 4708199"/>
              <a:gd name="connsiteY0" fmla="*/ 4032190 h 4325515"/>
              <a:gd name="connsiteX1" fmla="*/ 399773 w 4708199"/>
              <a:gd name="connsiteY1" fmla="*/ 3979321 h 4325515"/>
              <a:gd name="connsiteX2" fmla="*/ 404114 w 4708199"/>
              <a:gd name="connsiteY2" fmla="*/ 86139 h 4325515"/>
              <a:gd name="connsiteX3" fmla="*/ 2711890 w 4708199"/>
              <a:gd name="connsiteY3" fmla="*/ 145450 h 4325515"/>
              <a:gd name="connsiteX4" fmla="*/ 4511441 w 4708199"/>
              <a:gd name="connsiteY4" fmla="*/ 4032190 h 4325515"/>
              <a:gd name="connsiteX0" fmla="*/ 4511441 w 4705591"/>
              <a:gd name="connsiteY0" fmla="*/ 4032190 h 4325515"/>
              <a:gd name="connsiteX1" fmla="*/ 399773 w 4705591"/>
              <a:gd name="connsiteY1" fmla="*/ 3979321 h 4325515"/>
              <a:gd name="connsiteX2" fmla="*/ 404114 w 4705591"/>
              <a:gd name="connsiteY2" fmla="*/ 86139 h 4325515"/>
              <a:gd name="connsiteX3" fmla="*/ 2711890 w 4705591"/>
              <a:gd name="connsiteY3" fmla="*/ 145450 h 4325515"/>
              <a:gd name="connsiteX4" fmla="*/ 4511441 w 4705591"/>
              <a:gd name="connsiteY4" fmla="*/ 4032190 h 4325515"/>
              <a:gd name="connsiteX0" fmla="*/ 4534465 w 4726788"/>
              <a:gd name="connsiteY0" fmla="*/ 4014261 h 4318123"/>
              <a:gd name="connsiteX1" fmla="*/ 401282 w 4726788"/>
              <a:gd name="connsiteY1" fmla="*/ 3979321 h 4318123"/>
              <a:gd name="connsiteX2" fmla="*/ 405623 w 4726788"/>
              <a:gd name="connsiteY2" fmla="*/ 86139 h 4318123"/>
              <a:gd name="connsiteX3" fmla="*/ 2713399 w 4726788"/>
              <a:gd name="connsiteY3" fmla="*/ 145450 h 4318123"/>
              <a:gd name="connsiteX4" fmla="*/ 4534465 w 4726788"/>
              <a:gd name="connsiteY4" fmla="*/ 4014261 h 4318123"/>
              <a:gd name="connsiteX0" fmla="*/ 4534465 w 4717758"/>
              <a:gd name="connsiteY0" fmla="*/ 4014261 h 4318123"/>
              <a:gd name="connsiteX1" fmla="*/ 401282 w 4717758"/>
              <a:gd name="connsiteY1" fmla="*/ 3979321 h 4318123"/>
              <a:gd name="connsiteX2" fmla="*/ 405623 w 4717758"/>
              <a:gd name="connsiteY2" fmla="*/ 86139 h 4318123"/>
              <a:gd name="connsiteX3" fmla="*/ 2713399 w 4717758"/>
              <a:gd name="connsiteY3" fmla="*/ 145450 h 4318123"/>
              <a:gd name="connsiteX4" fmla="*/ 4534465 w 4717758"/>
              <a:gd name="connsiteY4" fmla="*/ 4014261 h 4318123"/>
              <a:gd name="connsiteX0" fmla="*/ 4534465 w 4720533"/>
              <a:gd name="connsiteY0" fmla="*/ 4014261 h 4318123"/>
              <a:gd name="connsiteX1" fmla="*/ 401282 w 4720533"/>
              <a:gd name="connsiteY1" fmla="*/ 3979321 h 4318123"/>
              <a:gd name="connsiteX2" fmla="*/ 405623 w 4720533"/>
              <a:gd name="connsiteY2" fmla="*/ 86139 h 4318123"/>
              <a:gd name="connsiteX3" fmla="*/ 2713399 w 4720533"/>
              <a:gd name="connsiteY3" fmla="*/ 145450 h 4318123"/>
              <a:gd name="connsiteX4" fmla="*/ 4534465 w 4720533"/>
              <a:gd name="connsiteY4" fmla="*/ 4014261 h 4318123"/>
              <a:gd name="connsiteX0" fmla="*/ 4302515 w 4488583"/>
              <a:gd name="connsiteY0" fmla="*/ 4014261 h 4086368"/>
              <a:gd name="connsiteX1" fmla="*/ 169332 w 4488583"/>
              <a:gd name="connsiteY1" fmla="*/ 3979321 h 4086368"/>
              <a:gd name="connsiteX2" fmla="*/ 173673 w 4488583"/>
              <a:gd name="connsiteY2" fmla="*/ 86139 h 4086368"/>
              <a:gd name="connsiteX3" fmla="*/ 2481449 w 4488583"/>
              <a:gd name="connsiteY3" fmla="*/ 145450 h 4086368"/>
              <a:gd name="connsiteX4" fmla="*/ 4302515 w 4488583"/>
              <a:gd name="connsiteY4" fmla="*/ 4014261 h 4086368"/>
              <a:gd name="connsiteX0" fmla="*/ 4302515 w 4488583"/>
              <a:gd name="connsiteY0" fmla="*/ 4014261 h 4086369"/>
              <a:gd name="connsiteX1" fmla="*/ 169332 w 4488583"/>
              <a:gd name="connsiteY1" fmla="*/ 3979321 h 4086369"/>
              <a:gd name="connsiteX2" fmla="*/ 173673 w 4488583"/>
              <a:gd name="connsiteY2" fmla="*/ 86139 h 4086369"/>
              <a:gd name="connsiteX3" fmla="*/ 2481449 w 4488583"/>
              <a:gd name="connsiteY3" fmla="*/ 145450 h 4086369"/>
              <a:gd name="connsiteX4" fmla="*/ 4302515 w 4488583"/>
              <a:gd name="connsiteY4" fmla="*/ 4014261 h 4086369"/>
              <a:gd name="connsiteX0" fmla="*/ 4159964 w 4346032"/>
              <a:gd name="connsiteY0" fmla="*/ 4014261 h 4086369"/>
              <a:gd name="connsiteX1" fmla="*/ 26781 w 4346032"/>
              <a:gd name="connsiteY1" fmla="*/ 3979321 h 4086369"/>
              <a:gd name="connsiteX2" fmla="*/ 31122 w 4346032"/>
              <a:gd name="connsiteY2" fmla="*/ 86139 h 4086369"/>
              <a:gd name="connsiteX3" fmla="*/ 2338898 w 4346032"/>
              <a:gd name="connsiteY3" fmla="*/ 145450 h 4086369"/>
              <a:gd name="connsiteX4" fmla="*/ 4159964 w 4346032"/>
              <a:gd name="connsiteY4" fmla="*/ 4014261 h 4086369"/>
              <a:gd name="connsiteX0" fmla="*/ 4155332 w 4341400"/>
              <a:gd name="connsiteY0" fmla="*/ 4014261 h 4086369"/>
              <a:gd name="connsiteX1" fmla="*/ 22149 w 4341400"/>
              <a:gd name="connsiteY1" fmla="*/ 3979321 h 4086369"/>
              <a:gd name="connsiteX2" fmla="*/ 26490 w 4341400"/>
              <a:gd name="connsiteY2" fmla="*/ 86139 h 4086369"/>
              <a:gd name="connsiteX3" fmla="*/ 2334266 w 4341400"/>
              <a:gd name="connsiteY3" fmla="*/ 145450 h 4086369"/>
              <a:gd name="connsiteX4" fmla="*/ 4155332 w 4341400"/>
              <a:gd name="connsiteY4" fmla="*/ 4014261 h 4086369"/>
              <a:gd name="connsiteX0" fmla="*/ 4136230 w 4322298"/>
              <a:gd name="connsiteY0" fmla="*/ 4014261 h 4086388"/>
              <a:gd name="connsiteX1" fmla="*/ 3047 w 4322298"/>
              <a:gd name="connsiteY1" fmla="*/ 3979321 h 4086388"/>
              <a:gd name="connsiteX2" fmla="*/ 7388 w 4322298"/>
              <a:gd name="connsiteY2" fmla="*/ 86139 h 4086388"/>
              <a:gd name="connsiteX3" fmla="*/ 2315164 w 4322298"/>
              <a:gd name="connsiteY3" fmla="*/ 145450 h 4086388"/>
              <a:gd name="connsiteX4" fmla="*/ 4136230 w 4322298"/>
              <a:gd name="connsiteY4" fmla="*/ 4014261 h 4086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2298" h="4086388">
                <a:moveTo>
                  <a:pt x="4136230" y="4014261"/>
                </a:moveTo>
                <a:cubicBezTo>
                  <a:pt x="3849913" y="4165062"/>
                  <a:pt x="3290" y="4042420"/>
                  <a:pt x="3047" y="3979321"/>
                </a:cubicBezTo>
                <a:cubicBezTo>
                  <a:pt x="-2633" y="2503630"/>
                  <a:pt x="93" y="1309077"/>
                  <a:pt x="7388" y="86139"/>
                </a:cubicBezTo>
                <a:cubicBezTo>
                  <a:pt x="941005" y="-44093"/>
                  <a:pt x="1569045" y="-28484"/>
                  <a:pt x="2315164" y="145450"/>
                </a:cubicBezTo>
                <a:cubicBezTo>
                  <a:pt x="3296094" y="412823"/>
                  <a:pt x="4862309" y="1541229"/>
                  <a:pt x="4136230" y="4014261"/>
                </a:cubicBezTo>
                <a:close/>
              </a:path>
            </a:pathLst>
          </a:custGeom>
          <a:solidFill>
            <a:schemeClr val="bg2">
              <a:lumMod val="75000"/>
            </a:schemeClr>
          </a:solidFill>
        </p:spPr>
        <p:txBody>
          <a:bodyPr/>
          <a:lstStyle/>
          <a:p>
            <a:endParaRPr lang="en-MX"/>
          </a:p>
        </p:txBody>
      </p:sp>
      <p:pic>
        <p:nvPicPr>
          <p:cNvPr id="21" name="Picture 20" descr="A picture containing text, clipart&#10;&#10;Description automatically generated">
            <a:extLst>
              <a:ext uri="{FF2B5EF4-FFF2-40B4-BE49-F238E27FC236}">
                <a16:creationId xmlns:a16="http://schemas.microsoft.com/office/drawing/2014/main" id="{28756807-7A3C-FD4D-A59B-DB0527EF5851}"/>
              </a:ext>
            </a:extLst>
          </p:cNvPr>
          <p:cNvPicPr>
            <a:picLocks noChangeAspect="1"/>
          </p:cNvPicPr>
          <p:nvPr userDrawn="1"/>
        </p:nvPicPr>
        <p:blipFill>
          <a:blip r:embed="rId3"/>
          <a:stretch>
            <a:fillRect/>
          </a:stretch>
        </p:blipFill>
        <p:spPr>
          <a:xfrm>
            <a:off x="10133703" y="6325250"/>
            <a:ext cx="1738361" cy="194422"/>
          </a:xfrm>
          <a:prstGeom prst="rect">
            <a:avLst/>
          </a:prstGeom>
        </p:spPr>
      </p:pic>
      <p:pic>
        <p:nvPicPr>
          <p:cNvPr id="15" name="Picture 14">
            <a:extLst>
              <a:ext uri="{FF2B5EF4-FFF2-40B4-BE49-F238E27FC236}">
                <a16:creationId xmlns:a16="http://schemas.microsoft.com/office/drawing/2014/main" id="{17C102D1-CA42-B740-8694-C4EA8767CCB3}"/>
              </a:ext>
            </a:extLst>
          </p:cNvPr>
          <p:cNvPicPr>
            <a:picLocks noChangeAspect="1"/>
          </p:cNvPicPr>
          <p:nvPr userDrawn="1"/>
        </p:nvPicPr>
        <p:blipFill>
          <a:blip r:embed="rId4"/>
          <a:stretch>
            <a:fillRect/>
          </a:stretch>
        </p:blipFill>
        <p:spPr>
          <a:xfrm>
            <a:off x="3921689" y="3019650"/>
            <a:ext cx="1371600" cy="1930400"/>
          </a:xfrm>
          <a:prstGeom prst="rect">
            <a:avLst/>
          </a:prstGeom>
        </p:spPr>
      </p:pic>
    </p:spTree>
    <p:extLst>
      <p:ext uri="{BB962C8B-B14F-4D97-AF65-F5344CB8AC3E}">
        <p14:creationId xmlns:p14="http://schemas.microsoft.com/office/powerpoint/2010/main" val="27694947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side_Picture Slide_3">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2" name="Picture Placeholder 11">
            <a:extLst>
              <a:ext uri="{FF2B5EF4-FFF2-40B4-BE49-F238E27FC236}">
                <a16:creationId xmlns:a16="http://schemas.microsoft.com/office/drawing/2014/main" id="{256011A1-66E7-09D7-F356-1E8C92885BFA}"/>
              </a:ext>
            </a:extLst>
          </p:cNvPr>
          <p:cNvSpPr>
            <a:spLocks noGrp="1"/>
          </p:cNvSpPr>
          <p:nvPr>
            <p:ph type="pic" sz="quarter" idx="23"/>
          </p:nvPr>
        </p:nvSpPr>
        <p:spPr>
          <a:xfrm>
            <a:off x="6735996" y="1694637"/>
            <a:ext cx="4392612" cy="4394200"/>
          </a:xfrm>
          <a:prstGeom prst="ellipse">
            <a:avLst/>
          </a:prstGeom>
          <a:solidFill>
            <a:schemeClr val="bg2">
              <a:lumMod val="75000"/>
            </a:schemeClr>
          </a:solidFill>
        </p:spPr>
        <p:txBody>
          <a:bodyPr/>
          <a:lstStyle/>
          <a:p>
            <a:endParaRPr lang="en-MX"/>
          </a:p>
        </p:txBody>
      </p:sp>
      <p:pic>
        <p:nvPicPr>
          <p:cNvPr id="19" name="Picture 18">
            <a:extLst>
              <a:ext uri="{FF2B5EF4-FFF2-40B4-BE49-F238E27FC236}">
                <a16:creationId xmlns:a16="http://schemas.microsoft.com/office/drawing/2014/main" id="{E0ED5E0E-7930-42C1-ED29-47947A5D7DED}"/>
              </a:ext>
            </a:extLst>
          </p:cNvPr>
          <p:cNvPicPr>
            <a:picLocks noChangeAspect="1"/>
          </p:cNvPicPr>
          <p:nvPr userDrawn="1"/>
        </p:nvPicPr>
        <p:blipFill>
          <a:blip r:embed="rId2"/>
          <a:stretch>
            <a:fillRect/>
          </a:stretch>
        </p:blipFill>
        <p:spPr>
          <a:xfrm>
            <a:off x="10242086" y="1694637"/>
            <a:ext cx="1371600" cy="1930400"/>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1430BDCA-65E3-CB03-3BE3-B148339E23A7}"/>
              </a:ext>
            </a:extLst>
          </p:cNvPr>
          <p:cNvPicPr>
            <a:picLocks noChangeAspect="1"/>
          </p:cNvPicPr>
          <p:nvPr userDrawn="1"/>
        </p:nvPicPr>
        <p:blipFill>
          <a:blip r:embed="rId3"/>
          <a:stretch>
            <a:fillRect/>
          </a:stretch>
        </p:blipFill>
        <p:spPr>
          <a:xfrm>
            <a:off x="10133703" y="6325250"/>
            <a:ext cx="1738361" cy="194422"/>
          </a:xfrm>
          <a:prstGeom prst="rect">
            <a:avLst/>
          </a:prstGeom>
        </p:spPr>
      </p:pic>
      <p:sp>
        <p:nvSpPr>
          <p:cNvPr id="9" name="Text Placeholder 20">
            <a:extLst>
              <a:ext uri="{FF2B5EF4-FFF2-40B4-BE49-F238E27FC236}">
                <a16:creationId xmlns:a16="http://schemas.microsoft.com/office/drawing/2014/main" id="{D6DE606F-D4E9-28A3-441A-923FD4DFF26A}"/>
              </a:ext>
            </a:extLst>
          </p:cNvPr>
          <p:cNvSpPr>
            <a:spLocks noGrp="1"/>
          </p:cNvSpPr>
          <p:nvPr>
            <p:ph type="body" sz="quarter" idx="16" hasCustomPrompt="1"/>
          </p:nvPr>
        </p:nvSpPr>
        <p:spPr>
          <a:xfrm>
            <a:off x="-697230" y="2220298"/>
            <a:ext cx="6948148" cy="3342877"/>
          </a:xfrm>
          <a:prstGeom prst="roundRect">
            <a:avLst/>
          </a:prstGeom>
          <a:solidFill>
            <a:srgbClr val="CAEBCC"/>
          </a:solidFill>
        </p:spPr>
        <p:txBody>
          <a:bodyPr lIns="1475999">
            <a:normAutofit/>
          </a:bodyPr>
          <a:lstStyle>
            <a:lvl1pPr marL="285750" indent="-285750" algn="l">
              <a:buFont typeface="Arial" panose="020B0604020202020204" pitchFamily="34" charset="0"/>
              <a:buChar char="•"/>
              <a:defRPr sz="1800">
                <a:solidFill>
                  <a:schemeClr val="tx1"/>
                </a:solidFill>
              </a:defRPr>
            </a:lvl1pPr>
          </a:lstStyle>
          <a:p>
            <a:pPr lvl="0"/>
            <a:r>
              <a:rPr lang="en-US" dirty="0"/>
              <a:t>Add bullet point</a:t>
            </a:r>
          </a:p>
        </p:txBody>
      </p:sp>
    </p:spTree>
    <p:extLst>
      <p:ext uri="{BB962C8B-B14F-4D97-AF65-F5344CB8AC3E}">
        <p14:creationId xmlns:p14="http://schemas.microsoft.com/office/powerpoint/2010/main" val="32567514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side_Picture Slide_4">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0" name="Picture 19">
            <a:extLst>
              <a:ext uri="{FF2B5EF4-FFF2-40B4-BE49-F238E27FC236}">
                <a16:creationId xmlns:a16="http://schemas.microsoft.com/office/drawing/2014/main" id="{5056B131-44B5-1646-87C8-FDF670114C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28" name="Picture 27">
            <a:extLst>
              <a:ext uri="{FF2B5EF4-FFF2-40B4-BE49-F238E27FC236}">
                <a16:creationId xmlns:a16="http://schemas.microsoft.com/office/drawing/2014/main" id="{B87C4030-DD54-CC42-9F4E-5B783034D5C8}"/>
              </a:ext>
            </a:extLst>
          </p:cNvPr>
          <p:cNvPicPr>
            <a:picLocks noChangeAspect="1"/>
          </p:cNvPicPr>
          <p:nvPr userDrawn="1"/>
        </p:nvPicPr>
        <p:blipFill>
          <a:blip r:embed="rId3"/>
          <a:stretch>
            <a:fillRect/>
          </a:stretch>
        </p:blipFill>
        <p:spPr>
          <a:xfrm>
            <a:off x="11235113" y="1954823"/>
            <a:ext cx="508000" cy="508000"/>
          </a:xfrm>
          <a:prstGeom prst="rect">
            <a:avLst/>
          </a:prstGeom>
        </p:spPr>
      </p:pic>
      <p:pic>
        <p:nvPicPr>
          <p:cNvPr id="29" name="Picture 28">
            <a:extLst>
              <a:ext uri="{FF2B5EF4-FFF2-40B4-BE49-F238E27FC236}">
                <a16:creationId xmlns:a16="http://schemas.microsoft.com/office/drawing/2014/main" id="{53B9DCEA-E359-CA46-8BE7-1E317BC9B52F}"/>
              </a:ext>
            </a:extLst>
          </p:cNvPr>
          <p:cNvPicPr>
            <a:picLocks noChangeAspect="1"/>
          </p:cNvPicPr>
          <p:nvPr userDrawn="1"/>
        </p:nvPicPr>
        <p:blipFill>
          <a:blip r:embed="rId4"/>
          <a:stretch>
            <a:fillRect/>
          </a:stretch>
        </p:blipFill>
        <p:spPr>
          <a:xfrm>
            <a:off x="11235113" y="2921100"/>
            <a:ext cx="380030" cy="380030"/>
          </a:xfrm>
          <a:prstGeom prst="rect">
            <a:avLst/>
          </a:prstGeom>
        </p:spPr>
      </p:pic>
      <p:pic>
        <p:nvPicPr>
          <p:cNvPr id="23" name="Picture 22" descr="Shape&#10;&#10;Description automatically generated">
            <a:extLst>
              <a:ext uri="{FF2B5EF4-FFF2-40B4-BE49-F238E27FC236}">
                <a16:creationId xmlns:a16="http://schemas.microsoft.com/office/drawing/2014/main" id="{06BB6760-8521-5D33-3872-E21255675D29}"/>
              </a:ext>
            </a:extLst>
          </p:cNvPr>
          <p:cNvPicPr>
            <a:picLocks noChangeAspect="1"/>
          </p:cNvPicPr>
          <p:nvPr userDrawn="1"/>
        </p:nvPicPr>
        <p:blipFill rotWithShape="1">
          <a:blip r:embed="rId5"/>
          <a:srcRect l="21276" b="14812"/>
          <a:stretch/>
        </p:blipFill>
        <p:spPr>
          <a:xfrm>
            <a:off x="-29069" y="1634836"/>
            <a:ext cx="6272391" cy="5223164"/>
          </a:xfrm>
          <a:prstGeom prst="rect">
            <a:avLst/>
          </a:prstGeom>
        </p:spPr>
      </p:pic>
      <p:sp>
        <p:nvSpPr>
          <p:cNvPr id="24" name="Picture Placeholder 4">
            <a:extLst>
              <a:ext uri="{FF2B5EF4-FFF2-40B4-BE49-F238E27FC236}">
                <a16:creationId xmlns:a16="http://schemas.microsoft.com/office/drawing/2014/main" id="{643976D2-2004-D502-3ACF-E2AD07734A07}"/>
              </a:ext>
            </a:extLst>
          </p:cNvPr>
          <p:cNvSpPr>
            <a:spLocks noGrp="1"/>
          </p:cNvSpPr>
          <p:nvPr>
            <p:ph type="pic" sz="quarter" idx="24"/>
          </p:nvPr>
        </p:nvSpPr>
        <p:spPr>
          <a:xfrm>
            <a:off x="-29069" y="1833561"/>
            <a:ext cx="5434179" cy="5137583"/>
          </a:xfrm>
          <a:custGeom>
            <a:avLst/>
            <a:gdLst>
              <a:gd name="connsiteX0" fmla="*/ 4110264 w 4973638"/>
              <a:gd name="connsiteY0" fmla="*/ 3766570 h 4286250"/>
              <a:gd name="connsiteX1" fmla="*/ 1379033 w 4973638"/>
              <a:gd name="connsiteY1" fmla="*/ 4061866 h 4286250"/>
              <a:gd name="connsiteX2" fmla="*/ 112134 w 4973638"/>
              <a:gd name="connsiteY2" fmla="*/ 1506830 h 4286250"/>
              <a:gd name="connsiteX3" fmla="*/ 2486818 w 4973638"/>
              <a:gd name="connsiteY3" fmla="*/ 0 h 4286250"/>
              <a:gd name="connsiteX4" fmla="*/ 4110264 w 4973638"/>
              <a:gd name="connsiteY4" fmla="*/ 3766570 h 4286250"/>
              <a:gd name="connsiteX0" fmla="*/ 4197538 w 4197538"/>
              <a:gd name="connsiteY0" fmla="*/ 3896110 h 4492049"/>
              <a:gd name="connsiteX1" fmla="*/ 1466307 w 4197538"/>
              <a:gd name="connsiteY1" fmla="*/ 4191406 h 4492049"/>
              <a:gd name="connsiteX2" fmla="*/ 73028 w 4197538"/>
              <a:gd name="connsiteY2" fmla="*/ 543551 h 4492049"/>
              <a:gd name="connsiteX3" fmla="*/ 2574092 w 4197538"/>
              <a:gd name="connsiteY3" fmla="*/ 129540 h 4492049"/>
              <a:gd name="connsiteX4" fmla="*/ 4197538 w 4197538"/>
              <a:gd name="connsiteY4" fmla="*/ 3896110 h 4492049"/>
              <a:gd name="connsiteX0" fmla="*/ 4534385 w 4534385"/>
              <a:gd name="connsiteY0" fmla="*/ 3896110 h 4661190"/>
              <a:gd name="connsiteX1" fmla="*/ 398100 w 4534385"/>
              <a:gd name="connsiteY1" fmla="*/ 4421864 h 4661190"/>
              <a:gd name="connsiteX2" fmla="*/ 409875 w 4534385"/>
              <a:gd name="connsiteY2" fmla="*/ 543551 h 4661190"/>
              <a:gd name="connsiteX3" fmla="*/ 2910939 w 4534385"/>
              <a:gd name="connsiteY3" fmla="*/ 129540 h 4661190"/>
              <a:gd name="connsiteX4" fmla="*/ 4534385 w 4534385"/>
              <a:gd name="connsiteY4" fmla="*/ 3896110 h 4661190"/>
              <a:gd name="connsiteX0" fmla="*/ 4566218 w 4566218"/>
              <a:gd name="connsiteY0" fmla="*/ 4401632 h 4865224"/>
              <a:gd name="connsiteX1" fmla="*/ 400196 w 4566218"/>
              <a:gd name="connsiteY1" fmla="*/ 4421864 h 4865224"/>
              <a:gd name="connsiteX2" fmla="*/ 411971 w 4566218"/>
              <a:gd name="connsiteY2" fmla="*/ 543551 h 4865224"/>
              <a:gd name="connsiteX3" fmla="*/ 2913035 w 4566218"/>
              <a:gd name="connsiteY3" fmla="*/ 129540 h 4865224"/>
              <a:gd name="connsiteX4" fmla="*/ 4566218 w 4566218"/>
              <a:gd name="connsiteY4" fmla="*/ 4401632 h 4865224"/>
              <a:gd name="connsiteX0" fmla="*/ 4566218 w 4714775"/>
              <a:gd name="connsiteY0" fmla="*/ 4401632 h 4865224"/>
              <a:gd name="connsiteX1" fmla="*/ 400196 w 4714775"/>
              <a:gd name="connsiteY1" fmla="*/ 4421864 h 4865224"/>
              <a:gd name="connsiteX2" fmla="*/ 411971 w 4714775"/>
              <a:gd name="connsiteY2" fmla="*/ 543551 h 4865224"/>
              <a:gd name="connsiteX3" fmla="*/ 2913035 w 4714775"/>
              <a:gd name="connsiteY3" fmla="*/ 129540 h 4865224"/>
              <a:gd name="connsiteX4" fmla="*/ 4566218 w 4714775"/>
              <a:gd name="connsiteY4" fmla="*/ 4401632 h 4865224"/>
              <a:gd name="connsiteX0" fmla="*/ 4566218 w 4702821"/>
              <a:gd name="connsiteY0" fmla="*/ 4246407 h 4709999"/>
              <a:gd name="connsiteX1" fmla="*/ 400196 w 4702821"/>
              <a:gd name="connsiteY1" fmla="*/ 4266639 h 4709999"/>
              <a:gd name="connsiteX2" fmla="*/ 411971 w 4702821"/>
              <a:gd name="connsiteY2" fmla="*/ 388326 h 4709999"/>
              <a:gd name="connsiteX3" fmla="*/ 2712313 w 4702821"/>
              <a:gd name="connsiteY3" fmla="*/ 427798 h 4709999"/>
              <a:gd name="connsiteX4" fmla="*/ 4566218 w 4702821"/>
              <a:gd name="connsiteY4" fmla="*/ 4246407 h 4709999"/>
              <a:gd name="connsiteX0" fmla="*/ 4566218 w 4726514"/>
              <a:gd name="connsiteY0" fmla="*/ 4246407 h 4709999"/>
              <a:gd name="connsiteX1" fmla="*/ 400196 w 4726514"/>
              <a:gd name="connsiteY1" fmla="*/ 4266639 h 4709999"/>
              <a:gd name="connsiteX2" fmla="*/ 411971 w 4726514"/>
              <a:gd name="connsiteY2" fmla="*/ 388326 h 4709999"/>
              <a:gd name="connsiteX3" fmla="*/ 2712313 w 4726514"/>
              <a:gd name="connsiteY3" fmla="*/ 427798 h 4709999"/>
              <a:gd name="connsiteX4" fmla="*/ 4566218 w 4726514"/>
              <a:gd name="connsiteY4" fmla="*/ 4246407 h 4709999"/>
              <a:gd name="connsiteX0" fmla="*/ 4569610 w 4729906"/>
              <a:gd name="connsiteY0" fmla="*/ 4257640 h 4722205"/>
              <a:gd name="connsiteX1" fmla="*/ 403588 w 4729906"/>
              <a:gd name="connsiteY1" fmla="*/ 4277872 h 4722205"/>
              <a:gd name="connsiteX2" fmla="*/ 407929 w 4729906"/>
              <a:gd name="connsiteY2" fmla="*/ 384690 h 4722205"/>
              <a:gd name="connsiteX3" fmla="*/ 2715705 w 4729906"/>
              <a:gd name="connsiteY3" fmla="*/ 439031 h 4722205"/>
              <a:gd name="connsiteX4" fmla="*/ 4569610 w 4729906"/>
              <a:gd name="connsiteY4" fmla="*/ 4257640 h 4722205"/>
              <a:gd name="connsiteX0" fmla="*/ 4569610 w 4729906"/>
              <a:gd name="connsiteY0" fmla="*/ 3958249 h 4422814"/>
              <a:gd name="connsiteX1" fmla="*/ 403588 w 4729906"/>
              <a:gd name="connsiteY1" fmla="*/ 3978481 h 4422814"/>
              <a:gd name="connsiteX2" fmla="*/ 407929 w 4729906"/>
              <a:gd name="connsiteY2" fmla="*/ 85299 h 4422814"/>
              <a:gd name="connsiteX3" fmla="*/ 2715705 w 4729906"/>
              <a:gd name="connsiteY3" fmla="*/ 139640 h 4422814"/>
              <a:gd name="connsiteX4" fmla="*/ 4569610 w 4729906"/>
              <a:gd name="connsiteY4" fmla="*/ 3958249 h 4422814"/>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3967889 h 4432454"/>
              <a:gd name="connsiteX1" fmla="*/ 403588 w 4729906"/>
              <a:gd name="connsiteY1" fmla="*/ 3988121 h 4432454"/>
              <a:gd name="connsiteX2" fmla="*/ 407929 w 4729906"/>
              <a:gd name="connsiteY2" fmla="*/ 94939 h 4432454"/>
              <a:gd name="connsiteX3" fmla="*/ 2715705 w 4729906"/>
              <a:gd name="connsiteY3" fmla="*/ 149280 h 4432454"/>
              <a:gd name="connsiteX4" fmla="*/ 4569610 w 4729906"/>
              <a:gd name="connsiteY4" fmla="*/ 3967889 h 4432454"/>
              <a:gd name="connsiteX0" fmla="*/ 4569610 w 4729906"/>
              <a:gd name="connsiteY0" fmla="*/ 3961147 h 4425712"/>
              <a:gd name="connsiteX1" fmla="*/ 403588 w 4729906"/>
              <a:gd name="connsiteY1" fmla="*/ 3981379 h 4425712"/>
              <a:gd name="connsiteX2" fmla="*/ 407929 w 4729906"/>
              <a:gd name="connsiteY2" fmla="*/ 88197 h 4425712"/>
              <a:gd name="connsiteX3" fmla="*/ 2715705 w 4729906"/>
              <a:gd name="connsiteY3" fmla="*/ 142538 h 4425712"/>
              <a:gd name="connsiteX4" fmla="*/ 4569610 w 4729906"/>
              <a:gd name="connsiteY4" fmla="*/ 3961147 h 4425712"/>
              <a:gd name="connsiteX0" fmla="*/ 4569610 w 4731390"/>
              <a:gd name="connsiteY0" fmla="*/ 3955154 h 4419719"/>
              <a:gd name="connsiteX1" fmla="*/ 403588 w 4731390"/>
              <a:gd name="connsiteY1" fmla="*/ 3975386 h 4419719"/>
              <a:gd name="connsiteX2" fmla="*/ 407929 w 4731390"/>
              <a:gd name="connsiteY2" fmla="*/ 82204 h 4419719"/>
              <a:gd name="connsiteX3" fmla="*/ 2735583 w 4731390"/>
              <a:gd name="connsiteY3" fmla="*/ 151454 h 4419719"/>
              <a:gd name="connsiteX4" fmla="*/ 4569610 w 4731390"/>
              <a:gd name="connsiteY4" fmla="*/ 3955154 h 4419719"/>
              <a:gd name="connsiteX0" fmla="*/ 4569610 w 4729906"/>
              <a:gd name="connsiteY0" fmla="*/ 3959089 h 4423654"/>
              <a:gd name="connsiteX1" fmla="*/ 403588 w 4729906"/>
              <a:gd name="connsiteY1" fmla="*/ 3979321 h 4423654"/>
              <a:gd name="connsiteX2" fmla="*/ 407929 w 4729906"/>
              <a:gd name="connsiteY2" fmla="*/ 86139 h 4423654"/>
              <a:gd name="connsiteX3" fmla="*/ 2715705 w 4729906"/>
              <a:gd name="connsiteY3" fmla="*/ 145450 h 4423654"/>
              <a:gd name="connsiteX4" fmla="*/ 4569610 w 4729906"/>
              <a:gd name="connsiteY4" fmla="*/ 3959089 h 4423654"/>
              <a:gd name="connsiteX0" fmla="*/ 4553655 w 4715061"/>
              <a:gd name="connsiteY0" fmla="*/ 3964058 h 4426283"/>
              <a:gd name="connsiteX1" fmla="*/ 402542 w 4715061"/>
              <a:gd name="connsiteY1" fmla="*/ 3979321 h 4426283"/>
              <a:gd name="connsiteX2" fmla="*/ 406883 w 4715061"/>
              <a:gd name="connsiteY2" fmla="*/ 86139 h 4426283"/>
              <a:gd name="connsiteX3" fmla="*/ 2714659 w 4715061"/>
              <a:gd name="connsiteY3" fmla="*/ 145450 h 4426283"/>
              <a:gd name="connsiteX4" fmla="*/ 4553655 w 4715061"/>
              <a:gd name="connsiteY4" fmla="*/ 3964058 h 4426283"/>
              <a:gd name="connsiteX0" fmla="*/ 4553655 w 4720275"/>
              <a:gd name="connsiteY0" fmla="*/ 3964058 h 4426283"/>
              <a:gd name="connsiteX1" fmla="*/ 402542 w 4720275"/>
              <a:gd name="connsiteY1" fmla="*/ 3979321 h 4426283"/>
              <a:gd name="connsiteX2" fmla="*/ 406883 w 4720275"/>
              <a:gd name="connsiteY2" fmla="*/ 86139 h 4426283"/>
              <a:gd name="connsiteX3" fmla="*/ 2714659 w 4720275"/>
              <a:gd name="connsiteY3" fmla="*/ 145450 h 4426283"/>
              <a:gd name="connsiteX4" fmla="*/ 4553655 w 4720275"/>
              <a:gd name="connsiteY4" fmla="*/ 3964058 h 4426283"/>
              <a:gd name="connsiteX0" fmla="*/ 4319549 w 4486169"/>
              <a:gd name="connsiteY0" fmla="*/ 3964058 h 4546245"/>
              <a:gd name="connsiteX1" fmla="*/ 168436 w 4486169"/>
              <a:gd name="connsiteY1" fmla="*/ 3979321 h 4546245"/>
              <a:gd name="connsiteX2" fmla="*/ 172777 w 4486169"/>
              <a:gd name="connsiteY2" fmla="*/ 86139 h 4546245"/>
              <a:gd name="connsiteX3" fmla="*/ 2480553 w 4486169"/>
              <a:gd name="connsiteY3" fmla="*/ 145450 h 4546245"/>
              <a:gd name="connsiteX4" fmla="*/ 4319549 w 4486169"/>
              <a:gd name="connsiteY4" fmla="*/ 3964058 h 4546245"/>
              <a:gd name="connsiteX0" fmla="*/ 4364562 w 4531182"/>
              <a:gd name="connsiteY0" fmla="*/ 3964058 h 4249930"/>
              <a:gd name="connsiteX1" fmla="*/ 213449 w 4531182"/>
              <a:gd name="connsiteY1" fmla="*/ 3979321 h 4249930"/>
              <a:gd name="connsiteX2" fmla="*/ 217790 w 4531182"/>
              <a:gd name="connsiteY2" fmla="*/ 86139 h 4249930"/>
              <a:gd name="connsiteX3" fmla="*/ 2525566 w 4531182"/>
              <a:gd name="connsiteY3" fmla="*/ 145450 h 4249930"/>
              <a:gd name="connsiteX4" fmla="*/ 4364562 w 4531182"/>
              <a:gd name="connsiteY4" fmla="*/ 3964058 h 4249930"/>
              <a:gd name="connsiteX0" fmla="*/ 4364562 w 4531182"/>
              <a:gd name="connsiteY0" fmla="*/ 3964058 h 4075864"/>
              <a:gd name="connsiteX1" fmla="*/ 213449 w 4531182"/>
              <a:gd name="connsiteY1" fmla="*/ 3979321 h 4075864"/>
              <a:gd name="connsiteX2" fmla="*/ 217790 w 4531182"/>
              <a:gd name="connsiteY2" fmla="*/ 86139 h 4075864"/>
              <a:gd name="connsiteX3" fmla="*/ 2525566 w 4531182"/>
              <a:gd name="connsiteY3" fmla="*/ 145450 h 4075864"/>
              <a:gd name="connsiteX4" fmla="*/ 4364562 w 4531182"/>
              <a:gd name="connsiteY4" fmla="*/ 3964058 h 4075864"/>
              <a:gd name="connsiteX0" fmla="*/ 4545978 w 4713148"/>
              <a:gd name="connsiteY0" fmla="*/ 3985573 h 4306667"/>
              <a:gd name="connsiteX1" fmla="*/ 402037 w 4713148"/>
              <a:gd name="connsiteY1" fmla="*/ 3979321 h 4306667"/>
              <a:gd name="connsiteX2" fmla="*/ 406378 w 4713148"/>
              <a:gd name="connsiteY2" fmla="*/ 86139 h 4306667"/>
              <a:gd name="connsiteX3" fmla="*/ 2714154 w 4713148"/>
              <a:gd name="connsiteY3" fmla="*/ 145450 h 4306667"/>
              <a:gd name="connsiteX4" fmla="*/ 4545978 w 4713148"/>
              <a:gd name="connsiteY4" fmla="*/ 3985573 h 4306667"/>
              <a:gd name="connsiteX0" fmla="*/ 4511441 w 4681129"/>
              <a:gd name="connsiteY0" fmla="*/ 4032190 h 4325515"/>
              <a:gd name="connsiteX1" fmla="*/ 399773 w 4681129"/>
              <a:gd name="connsiteY1" fmla="*/ 3979321 h 4325515"/>
              <a:gd name="connsiteX2" fmla="*/ 404114 w 4681129"/>
              <a:gd name="connsiteY2" fmla="*/ 86139 h 4325515"/>
              <a:gd name="connsiteX3" fmla="*/ 2711890 w 4681129"/>
              <a:gd name="connsiteY3" fmla="*/ 145450 h 4325515"/>
              <a:gd name="connsiteX4" fmla="*/ 4511441 w 4681129"/>
              <a:gd name="connsiteY4" fmla="*/ 4032190 h 4325515"/>
              <a:gd name="connsiteX0" fmla="*/ 4511441 w 4708199"/>
              <a:gd name="connsiteY0" fmla="*/ 4032190 h 4325515"/>
              <a:gd name="connsiteX1" fmla="*/ 399773 w 4708199"/>
              <a:gd name="connsiteY1" fmla="*/ 3979321 h 4325515"/>
              <a:gd name="connsiteX2" fmla="*/ 404114 w 4708199"/>
              <a:gd name="connsiteY2" fmla="*/ 86139 h 4325515"/>
              <a:gd name="connsiteX3" fmla="*/ 2711890 w 4708199"/>
              <a:gd name="connsiteY3" fmla="*/ 145450 h 4325515"/>
              <a:gd name="connsiteX4" fmla="*/ 4511441 w 4708199"/>
              <a:gd name="connsiteY4" fmla="*/ 4032190 h 4325515"/>
              <a:gd name="connsiteX0" fmla="*/ 4511441 w 4705591"/>
              <a:gd name="connsiteY0" fmla="*/ 4032190 h 4325515"/>
              <a:gd name="connsiteX1" fmla="*/ 399773 w 4705591"/>
              <a:gd name="connsiteY1" fmla="*/ 3979321 h 4325515"/>
              <a:gd name="connsiteX2" fmla="*/ 404114 w 4705591"/>
              <a:gd name="connsiteY2" fmla="*/ 86139 h 4325515"/>
              <a:gd name="connsiteX3" fmla="*/ 2711890 w 4705591"/>
              <a:gd name="connsiteY3" fmla="*/ 145450 h 4325515"/>
              <a:gd name="connsiteX4" fmla="*/ 4511441 w 4705591"/>
              <a:gd name="connsiteY4" fmla="*/ 4032190 h 4325515"/>
              <a:gd name="connsiteX0" fmla="*/ 4534465 w 4726788"/>
              <a:gd name="connsiteY0" fmla="*/ 4014261 h 4318123"/>
              <a:gd name="connsiteX1" fmla="*/ 401282 w 4726788"/>
              <a:gd name="connsiteY1" fmla="*/ 3979321 h 4318123"/>
              <a:gd name="connsiteX2" fmla="*/ 405623 w 4726788"/>
              <a:gd name="connsiteY2" fmla="*/ 86139 h 4318123"/>
              <a:gd name="connsiteX3" fmla="*/ 2713399 w 4726788"/>
              <a:gd name="connsiteY3" fmla="*/ 145450 h 4318123"/>
              <a:gd name="connsiteX4" fmla="*/ 4534465 w 4726788"/>
              <a:gd name="connsiteY4" fmla="*/ 4014261 h 4318123"/>
              <a:gd name="connsiteX0" fmla="*/ 4534465 w 4717758"/>
              <a:gd name="connsiteY0" fmla="*/ 4014261 h 4318123"/>
              <a:gd name="connsiteX1" fmla="*/ 401282 w 4717758"/>
              <a:gd name="connsiteY1" fmla="*/ 3979321 h 4318123"/>
              <a:gd name="connsiteX2" fmla="*/ 405623 w 4717758"/>
              <a:gd name="connsiteY2" fmla="*/ 86139 h 4318123"/>
              <a:gd name="connsiteX3" fmla="*/ 2713399 w 4717758"/>
              <a:gd name="connsiteY3" fmla="*/ 145450 h 4318123"/>
              <a:gd name="connsiteX4" fmla="*/ 4534465 w 4717758"/>
              <a:gd name="connsiteY4" fmla="*/ 4014261 h 4318123"/>
              <a:gd name="connsiteX0" fmla="*/ 4534465 w 4720533"/>
              <a:gd name="connsiteY0" fmla="*/ 4014261 h 4318123"/>
              <a:gd name="connsiteX1" fmla="*/ 401282 w 4720533"/>
              <a:gd name="connsiteY1" fmla="*/ 3979321 h 4318123"/>
              <a:gd name="connsiteX2" fmla="*/ 405623 w 4720533"/>
              <a:gd name="connsiteY2" fmla="*/ 86139 h 4318123"/>
              <a:gd name="connsiteX3" fmla="*/ 2713399 w 4720533"/>
              <a:gd name="connsiteY3" fmla="*/ 145450 h 4318123"/>
              <a:gd name="connsiteX4" fmla="*/ 4534465 w 4720533"/>
              <a:gd name="connsiteY4" fmla="*/ 4014261 h 4318123"/>
              <a:gd name="connsiteX0" fmla="*/ 4302515 w 4488583"/>
              <a:gd name="connsiteY0" fmla="*/ 4014261 h 4086368"/>
              <a:gd name="connsiteX1" fmla="*/ 169332 w 4488583"/>
              <a:gd name="connsiteY1" fmla="*/ 3979321 h 4086368"/>
              <a:gd name="connsiteX2" fmla="*/ 173673 w 4488583"/>
              <a:gd name="connsiteY2" fmla="*/ 86139 h 4086368"/>
              <a:gd name="connsiteX3" fmla="*/ 2481449 w 4488583"/>
              <a:gd name="connsiteY3" fmla="*/ 145450 h 4086368"/>
              <a:gd name="connsiteX4" fmla="*/ 4302515 w 4488583"/>
              <a:gd name="connsiteY4" fmla="*/ 4014261 h 4086368"/>
              <a:gd name="connsiteX0" fmla="*/ 4302515 w 4488583"/>
              <a:gd name="connsiteY0" fmla="*/ 4014261 h 4086369"/>
              <a:gd name="connsiteX1" fmla="*/ 169332 w 4488583"/>
              <a:gd name="connsiteY1" fmla="*/ 3979321 h 4086369"/>
              <a:gd name="connsiteX2" fmla="*/ 173673 w 4488583"/>
              <a:gd name="connsiteY2" fmla="*/ 86139 h 4086369"/>
              <a:gd name="connsiteX3" fmla="*/ 2481449 w 4488583"/>
              <a:gd name="connsiteY3" fmla="*/ 145450 h 4086369"/>
              <a:gd name="connsiteX4" fmla="*/ 4302515 w 4488583"/>
              <a:gd name="connsiteY4" fmla="*/ 4014261 h 4086369"/>
              <a:gd name="connsiteX0" fmla="*/ 4159964 w 4346032"/>
              <a:gd name="connsiteY0" fmla="*/ 4014261 h 4086369"/>
              <a:gd name="connsiteX1" fmla="*/ 26781 w 4346032"/>
              <a:gd name="connsiteY1" fmla="*/ 3979321 h 4086369"/>
              <a:gd name="connsiteX2" fmla="*/ 31122 w 4346032"/>
              <a:gd name="connsiteY2" fmla="*/ 86139 h 4086369"/>
              <a:gd name="connsiteX3" fmla="*/ 2338898 w 4346032"/>
              <a:gd name="connsiteY3" fmla="*/ 145450 h 4086369"/>
              <a:gd name="connsiteX4" fmla="*/ 4159964 w 4346032"/>
              <a:gd name="connsiteY4" fmla="*/ 4014261 h 4086369"/>
              <a:gd name="connsiteX0" fmla="*/ 4155332 w 4341400"/>
              <a:gd name="connsiteY0" fmla="*/ 4014261 h 4086369"/>
              <a:gd name="connsiteX1" fmla="*/ 22149 w 4341400"/>
              <a:gd name="connsiteY1" fmla="*/ 3979321 h 4086369"/>
              <a:gd name="connsiteX2" fmla="*/ 26490 w 4341400"/>
              <a:gd name="connsiteY2" fmla="*/ 86139 h 4086369"/>
              <a:gd name="connsiteX3" fmla="*/ 2334266 w 4341400"/>
              <a:gd name="connsiteY3" fmla="*/ 145450 h 4086369"/>
              <a:gd name="connsiteX4" fmla="*/ 4155332 w 4341400"/>
              <a:gd name="connsiteY4" fmla="*/ 4014261 h 4086369"/>
              <a:gd name="connsiteX0" fmla="*/ 4136230 w 4322298"/>
              <a:gd name="connsiteY0" fmla="*/ 4014261 h 4086388"/>
              <a:gd name="connsiteX1" fmla="*/ 3047 w 4322298"/>
              <a:gd name="connsiteY1" fmla="*/ 3979321 h 4086388"/>
              <a:gd name="connsiteX2" fmla="*/ 7388 w 4322298"/>
              <a:gd name="connsiteY2" fmla="*/ 86139 h 4086388"/>
              <a:gd name="connsiteX3" fmla="*/ 2315164 w 4322298"/>
              <a:gd name="connsiteY3" fmla="*/ 145450 h 4086388"/>
              <a:gd name="connsiteX4" fmla="*/ 4136230 w 4322298"/>
              <a:gd name="connsiteY4" fmla="*/ 4014261 h 4086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2298" h="4086388">
                <a:moveTo>
                  <a:pt x="4136230" y="4014261"/>
                </a:moveTo>
                <a:cubicBezTo>
                  <a:pt x="3849913" y="4165062"/>
                  <a:pt x="3290" y="4042420"/>
                  <a:pt x="3047" y="3979321"/>
                </a:cubicBezTo>
                <a:cubicBezTo>
                  <a:pt x="-2633" y="2503630"/>
                  <a:pt x="93" y="1309077"/>
                  <a:pt x="7388" y="86139"/>
                </a:cubicBezTo>
                <a:cubicBezTo>
                  <a:pt x="941005" y="-44093"/>
                  <a:pt x="1569045" y="-28484"/>
                  <a:pt x="2315164" y="145450"/>
                </a:cubicBezTo>
                <a:cubicBezTo>
                  <a:pt x="3296094" y="412823"/>
                  <a:pt x="4862309" y="1541229"/>
                  <a:pt x="4136230" y="4014261"/>
                </a:cubicBezTo>
                <a:close/>
              </a:path>
            </a:pathLst>
          </a:custGeom>
          <a:solidFill>
            <a:schemeClr val="bg2">
              <a:lumMod val="75000"/>
            </a:schemeClr>
          </a:solidFill>
        </p:spPr>
        <p:txBody>
          <a:bodyPr/>
          <a:lstStyle/>
          <a:p>
            <a:endParaRPr lang="en-MX"/>
          </a:p>
        </p:txBody>
      </p:sp>
      <p:pic>
        <p:nvPicPr>
          <p:cNvPr id="26" name="Picture 25" descr="A picture containing text, clipart&#10;&#10;Description automatically generated">
            <a:extLst>
              <a:ext uri="{FF2B5EF4-FFF2-40B4-BE49-F238E27FC236}">
                <a16:creationId xmlns:a16="http://schemas.microsoft.com/office/drawing/2014/main" id="{F19349C7-E668-E252-36A9-9E4078689716}"/>
              </a:ext>
            </a:extLst>
          </p:cNvPr>
          <p:cNvPicPr>
            <a:picLocks noChangeAspect="1"/>
          </p:cNvPicPr>
          <p:nvPr userDrawn="1"/>
        </p:nvPicPr>
        <p:blipFill>
          <a:blip r:embed="rId6"/>
          <a:stretch>
            <a:fillRect/>
          </a:stretch>
        </p:blipFill>
        <p:spPr>
          <a:xfrm>
            <a:off x="10133703" y="6325250"/>
            <a:ext cx="1738361" cy="194422"/>
          </a:xfrm>
          <a:prstGeom prst="rect">
            <a:avLst/>
          </a:prstGeom>
        </p:spPr>
      </p:pic>
      <p:sp>
        <p:nvSpPr>
          <p:cNvPr id="13" name="Text Placeholder 20">
            <a:extLst>
              <a:ext uri="{FF2B5EF4-FFF2-40B4-BE49-F238E27FC236}">
                <a16:creationId xmlns:a16="http://schemas.microsoft.com/office/drawing/2014/main" id="{07875EE9-F201-76E3-683A-FE7266459F7E}"/>
              </a:ext>
            </a:extLst>
          </p:cNvPr>
          <p:cNvSpPr>
            <a:spLocks noGrp="1"/>
          </p:cNvSpPr>
          <p:nvPr>
            <p:ph type="body" sz="quarter" idx="21" hasCustomPrompt="1"/>
          </p:nvPr>
        </p:nvSpPr>
        <p:spPr>
          <a:xfrm>
            <a:off x="7375950" y="2429732"/>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
        <p:nvSpPr>
          <p:cNvPr id="14" name="Text Placeholder 20">
            <a:extLst>
              <a:ext uri="{FF2B5EF4-FFF2-40B4-BE49-F238E27FC236}">
                <a16:creationId xmlns:a16="http://schemas.microsoft.com/office/drawing/2014/main" id="{97793051-5AFD-574E-DBFF-D36D980FAAD2}"/>
              </a:ext>
            </a:extLst>
          </p:cNvPr>
          <p:cNvSpPr>
            <a:spLocks noGrp="1"/>
          </p:cNvSpPr>
          <p:nvPr>
            <p:ph type="body" sz="quarter" idx="22" hasCustomPrompt="1"/>
          </p:nvPr>
        </p:nvSpPr>
        <p:spPr>
          <a:xfrm>
            <a:off x="7375950" y="3486959"/>
            <a:ext cx="3020951" cy="848593"/>
          </a:xfrm>
          <a:prstGeom prst="roundRect">
            <a:avLst/>
          </a:prstGeom>
          <a:solidFill>
            <a:srgbClr val="CAEBCC"/>
          </a:solidFill>
        </p:spPr>
        <p:txBody>
          <a:bodyPr anchor="ctr">
            <a:normAutofit/>
          </a:bodyPr>
          <a:lstStyle>
            <a:lvl1pPr algn="ctr">
              <a:buNone/>
              <a:defRPr sz="1800">
                <a:solidFill>
                  <a:schemeClr val="tx1"/>
                </a:solidFill>
              </a:defRPr>
            </a:lvl1pPr>
          </a:lstStyle>
          <a:p>
            <a:pPr lvl="0"/>
            <a:r>
              <a:rPr lang="en-US" dirty="0"/>
              <a:t>Title</a:t>
            </a:r>
          </a:p>
        </p:txBody>
      </p:sp>
      <p:sp>
        <p:nvSpPr>
          <p:cNvPr id="15" name="Text Placeholder 20">
            <a:extLst>
              <a:ext uri="{FF2B5EF4-FFF2-40B4-BE49-F238E27FC236}">
                <a16:creationId xmlns:a16="http://schemas.microsoft.com/office/drawing/2014/main" id="{7C4454F7-13EC-BC86-1525-62D1C2E8E0F1}"/>
              </a:ext>
            </a:extLst>
          </p:cNvPr>
          <p:cNvSpPr>
            <a:spLocks noGrp="1"/>
          </p:cNvSpPr>
          <p:nvPr>
            <p:ph type="body" sz="quarter" idx="23" hasCustomPrompt="1"/>
          </p:nvPr>
        </p:nvSpPr>
        <p:spPr>
          <a:xfrm>
            <a:off x="7375950" y="4544186"/>
            <a:ext cx="3020951" cy="848593"/>
          </a:xfrm>
          <a:prstGeom prst="roundRect">
            <a:avLst/>
          </a:prstGeom>
          <a:solidFill>
            <a:srgbClr val="62C468"/>
          </a:solidFill>
        </p:spPr>
        <p:txBody>
          <a:bodyPr anchor="ctr">
            <a:normAutofit/>
          </a:bodyPr>
          <a:lstStyle>
            <a:lvl1pPr algn="ctr">
              <a:buNone/>
              <a:defRPr sz="1800">
                <a:solidFill>
                  <a:schemeClr val="tx1"/>
                </a:solidFill>
              </a:defRPr>
            </a:lvl1pPr>
          </a:lstStyle>
          <a:p>
            <a:pPr lvl="0"/>
            <a:r>
              <a:rPr lang="en-US" dirty="0"/>
              <a:t>Title</a:t>
            </a:r>
          </a:p>
        </p:txBody>
      </p:sp>
    </p:spTree>
    <p:extLst>
      <p:ext uri="{BB962C8B-B14F-4D97-AF65-F5344CB8AC3E}">
        <p14:creationId xmlns:p14="http://schemas.microsoft.com/office/powerpoint/2010/main" val="23049022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side_Picture Slide_5">
    <p:spTree>
      <p:nvGrpSpPr>
        <p:cNvPr id="1" name=""/>
        <p:cNvGrpSpPr/>
        <p:nvPr/>
      </p:nvGrpSpPr>
      <p:grpSpPr>
        <a:xfrm>
          <a:off x="0" y="0"/>
          <a:ext cx="0" cy="0"/>
          <a:chOff x="0" y="0"/>
          <a:chExt cx="0" cy="0"/>
        </a:xfrm>
      </p:grpSpPr>
      <p:sp>
        <p:nvSpPr>
          <p:cNvPr id="13" name="Picture Placeholder 25">
            <a:extLst>
              <a:ext uri="{FF2B5EF4-FFF2-40B4-BE49-F238E27FC236}">
                <a16:creationId xmlns:a16="http://schemas.microsoft.com/office/drawing/2014/main" id="{0EB666A0-EC83-4F43-99D3-513C4495FF0E}"/>
              </a:ext>
            </a:extLst>
          </p:cNvPr>
          <p:cNvSpPr>
            <a:spLocks noGrp="1"/>
          </p:cNvSpPr>
          <p:nvPr>
            <p:ph type="pic" sz="quarter" idx="23"/>
          </p:nvPr>
        </p:nvSpPr>
        <p:spPr>
          <a:xfrm>
            <a:off x="6053185" y="-42792"/>
            <a:ext cx="6309446" cy="7092195"/>
          </a:xfrm>
          <a:custGeom>
            <a:avLst/>
            <a:gdLst>
              <a:gd name="connsiteX0" fmla="*/ 5542586 w 6400800"/>
              <a:gd name="connsiteY0" fmla="*/ 5779124 h 6873875"/>
              <a:gd name="connsiteX1" fmla="*/ 1513940 w 6400800"/>
              <a:gd name="connsiteY1" fmla="*/ 6357972 h 6873875"/>
              <a:gd name="connsiteX2" fmla="*/ 95197 w 6400800"/>
              <a:gd name="connsiteY2" fmla="*/ 2604901 h 6873875"/>
              <a:gd name="connsiteX3" fmla="*/ 3200400 w 6400800"/>
              <a:gd name="connsiteY3" fmla="*/ 0 h 6873875"/>
              <a:gd name="connsiteX4" fmla="*/ 5542586 w 6400800"/>
              <a:gd name="connsiteY4" fmla="*/ 5779124 h 6873875"/>
              <a:gd name="connsiteX0" fmla="*/ 5542814 w 6506965"/>
              <a:gd name="connsiteY0" fmla="*/ 5779124 h 6873977"/>
              <a:gd name="connsiteX1" fmla="*/ 1514168 w 6506965"/>
              <a:gd name="connsiteY1" fmla="*/ 6357972 h 6873977"/>
              <a:gd name="connsiteX2" fmla="*/ 95425 w 6506965"/>
              <a:gd name="connsiteY2" fmla="*/ 2604901 h 6873977"/>
              <a:gd name="connsiteX3" fmla="*/ 6346599 w 6506965"/>
              <a:gd name="connsiteY3" fmla="*/ 0 h 6873977"/>
              <a:gd name="connsiteX4" fmla="*/ 5542814 w 6506965"/>
              <a:gd name="connsiteY4" fmla="*/ 5779124 h 6873977"/>
              <a:gd name="connsiteX0" fmla="*/ 4779038 w 5743189"/>
              <a:gd name="connsiteY0" fmla="*/ 6441015 h 7576480"/>
              <a:gd name="connsiteX1" fmla="*/ 750392 w 5743189"/>
              <a:gd name="connsiteY1" fmla="*/ 7019863 h 7576480"/>
              <a:gd name="connsiteX2" fmla="*/ 169849 w 5743189"/>
              <a:gd name="connsiteY2" fmla="*/ 686878 h 7576480"/>
              <a:gd name="connsiteX3" fmla="*/ 5582823 w 5743189"/>
              <a:gd name="connsiteY3" fmla="*/ 661891 h 7576480"/>
              <a:gd name="connsiteX4" fmla="*/ 4779038 w 5743189"/>
              <a:gd name="connsiteY4" fmla="*/ 6441015 h 7576480"/>
              <a:gd name="connsiteX0" fmla="*/ 4867591 w 5831742"/>
              <a:gd name="connsiteY0" fmla="*/ 6441015 h 7099344"/>
              <a:gd name="connsiteX1" fmla="*/ 577688 w 5831742"/>
              <a:gd name="connsiteY1" fmla="*/ 6051034 h 7099344"/>
              <a:gd name="connsiteX2" fmla="*/ 258402 w 5831742"/>
              <a:gd name="connsiteY2" fmla="*/ 686878 h 7099344"/>
              <a:gd name="connsiteX3" fmla="*/ 5671376 w 5831742"/>
              <a:gd name="connsiteY3" fmla="*/ 661891 h 7099344"/>
              <a:gd name="connsiteX4" fmla="*/ 4867591 w 5831742"/>
              <a:gd name="connsiteY4" fmla="*/ 6441015 h 7099344"/>
              <a:gd name="connsiteX0" fmla="*/ 5789457 w 5955770"/>
              <a:gd name="connsiteY0" fmla="*/ 7475157 h 7919397"/>
              <a:gd name="connsiteX1" fmla="*/ 628697 w 5955770"/>
              <a:gd name="connsiteY1" fmla="*/ 6051034 h 7919397"/>
              <a:gd name="connsiteX2" fmla="*/ 309411 w 5955770"/>
              <a:gd name="connsiteY2" fmla="*/ 686878 h 7919397"/>
              <a:gd name="connsiteX3" fmla="*/ 5722385 w 5955770"/>
              <a:gd name="connsiteY3" fmla="*/ 661891 h 7919397"/>
              <a:gd name="connsiteX4" fmla="*/ 5789457 w 5955770"/>
              <a:gd name="connsiteY4" fmla="*/ 7475157 h 7919397"/>
              <a:gd name="connsiteX0" fmla="*/ 5789457 w 6080582"/>
              <a:gd name="connsiteY0" fmla="*/ 7475157 h 7919397"/>
              <a:gd name="connsiteX1" fmla="*/ 628697 w 6080582"/>
              <a:gd name="connsiteY1" fmla="*/ 6051034 h 7919397"/>
              <a:gd name="connsiteX2" fmla="*/ 309411 w 6080582"/>
              <a:gd name="connsiteY2" fmla="*/ 686878 h 7919397"/>
              <a:gd name="connsiteX3" fmla="*/ 5722385 w 6080582"/>
              <a:gd name="connsiteY3" fmla="*/ 661891 h 7919397"/>
              <a:gd name="connsiteX4" fmla="*/ 5789457 w 6080582"/>
              <a:gd name="connsiteY4" fmla="*/ 7475157 h 7919397"/>
              <a:gd name="connsiteX0" fmla="*/ 5789457 w 5789457"/>
              <a:gd name="connsiteY0" fmla="*/ 7475157 h 7919397"/>
              <a:gd name="connsiteX1" fmla="*/ 628697 w 5789457"/>
              <a:gd name="connsiteY1" fmla="*/ 6051034 h 7919397"/>
              <a:gd name="connsiteX2" fmla="*/ 309411 w 5789457"/>
              <a:gd name="connsiteY2" fmla="*/ 686878 h 7919397"/>
              <a:gd name="connsiteX3" fmla="*/ 5722385 w 5789457"/>
              <a:gd name="connsiteY3" fmla="*/ 661891 h 7919397"/>
              <a:gd name="connsiteX4" fmla="*/ 5789457 w 5789457"/>
              <a:gd name="connsiteY4" fmla="*/ 7475157 h 7919397"/>
              <a:gd name="connsiteX0" fmla="*/ 5789457 w 5837908"/>
              <a:gd name="connsiteY0" fmla="*/ 7480956 h 7925196"/>
              <a:gd name="connsiteX1" fmla="*/ 628697 w 5837908"/>
              <a:gd name="connsiteY1" fmla="*/ 6056833 h 7925196"/>
              <a:gd name="connsiteX2" fmla="*/ 309411 w 5837908"/>
              <a:gd name="connsiteY2" fmla="*/ 692677 h 7925196"/>
              <a:gd name="connsiteX3" fmla="*/ 5798585 w 5837908"/>
              <a:gd name="connsiteY3" fmla="*/ 645918 h 7925196"/>
              <a:gd name="connsiteX4" fmla="*/ 5789457 w 5837908"/>
              <a:gd name="connsiteY4" fmla="*/ 7480956 h 7925196"/>
              <a:gd name="connsiteX0" fmla="*/ 5795797 w 5844248"/>
              <a:gd name="connsiteY0" fmla="*/ 7488930 h 7933445"/>
              <a:gd name="connsiteX1" fmla="*/ 635037 w 5844248"/>
              <a:gd name="connsiteY1" fmla="*/ 6064807 h 7933445"/>
              <a:gd name="connsiteX2" fmla="*/ 304866 w 5844248"/>
              <a:gd name="connsiteY2" fmla="*/ 689766 h 7933445"/>
              <a:gd name="connsiteX3" fmla="*/ 5804925 w 5844248"/>
              <a:gd name="connsiteY3" fmla="*/ 653892 h 7933445"/>
              <a:gd name="connsiteX4" fmla="*/ 5795797 w 5844248"/>
              <a:gd name="connsiteY4" fmla="*/ 7488930 h 7933445"/>
              <a:gd name="connsiteX0" fmla="*/ 5795797 w 5844248"/>
              <a:gd name="connsiteY0" fmla="*/ 6835038 h 7279553"/>
              <a:gd name="connsiteX1" fmla="*/ 635037 w 5844248"/>
              <a:gd name="connsiteY1" fmla="*/ 5410915 h 7279553"/>
              <a:gd name="connsiteX2" fmla="*/ 304866 w 5844248"/>
              <a:gd name="connsiteY2" fmla="*/ 35874 h 7279553"/>
              <a:gd name="connsiteX3" fmla="*/ 5804925 w 5844248"/>
              <a:gd name="connsiteY3" fmla="*/ 0 h 7279553"/>
              <a:gd name="connsiteX4" fmla="*/ 5795797 w 5844248"/>
              <a:gd name="connsiteY4" fmla="*/ 6835038 h 7279553"/>
              <a:gd name="connsiteX0" fmla="*/ 6249964 w 6298415"/>
              <a:gd name="connsiteY0" fmla="*/ 6835038 h 7279553"/>
              <a:gd name="connsiteX1" fmla="*/ 1089204 w 6298415"/>
              <a:gd name="connsiteY1" fmla="*/ 5410915 h 7279553"/>
              <a:gd name="connsiteX2" fmla="*/ 759033 w 6298415"/>
              <a:gd name="connsiteY2" fmla="*/ 35874 h 7279553"/>
              <a:gd name="connsiteX3" fmla="*/ 6259092 w 6298415"/>
              <a:gd name="connsiteY3" fmla="*/ 0 h 7279553"/>
              <a:gd name="connsiteX4" fmla="*/ 6249964 w 6298415"/>
              <a:gd name="connsiteY4" fmla="*/ 6835038 h 7279553"/>
              <a:gd name="connsiteX0" fmla="*/ 6249964 w 6298415"/>
              <a:gd name="connsiteY0" fmla="*/ 6835038 h 7024594"/>
              <a:gd name="connsiteX1" fmla="*/ 1089204 w 6298415"/>
              <a:gd name="connsiteY1" fmla="*/ 5410915 h 7024594"/>
              <a:gd name="connsiteX2" fmla="*/ 759033 w 6298415"/>
              <a:gd name="connsiteY2" fmla="*/ 35874 h 7024594"/>
              <a:gd name="connsiteX3" fmla="*/ 6259092 w 6298415"/>
              <a:gd name="connsiteY3" fmla="*/ 0 h 7024594"/>
              <a:gd name="connsiteX4" fmla="*/ 6249964 w 6298415"/>
              <a:gd name="connsiteY4" fmla="*/ 6835038 h 7024594"/>
              <a:gd name="connsiteX0" fmla="*/ 6249964 w 6298415"/>
              <a:gd name="connsiteY0" fmla="*/ 6900353 h 7083219"/>
              <a:gd name="connsiteX1" fmla="*/ 1089204 w 6298415"/>
              <a:gd name="connsiteY1" fmla="*/ 5410915 h 7083219"/>
              <a:gd name="connsiteX2" fmla="*/ 759033 w 6298415"/>
              <a:gd name="connsiteY2" fmla="*/ 35874 h 7083219"/>
              <a:gd name="connsiteX3" fmla="*/ 6259092 w 6298415"/>
              <a:gd name="connsiteY3" fmla="*/ 0 h 7083219"/>
              <a:gd name="connsiteX4" fmla="*/ 6249964 w 6298415"/>
              <a:gd name="connsiteY4" fmla="*/ 6900353 h 7083219"/>
              <a:gd name="connsiteX0" fmla="*/ 6249964 w 6298415"/>
              <a:gd name="connsiteY0" fmla="*/ 6900353 h 6992123"/>
              <a:gd name="connsiteX1" fmla="*/ 1089204 w 6298415"/>
              <a:gd name="connsiteY1" fmla="*/ 5410915 h 6992123"/>
              <a:gd name="connsiteX2" fmla="*/ 759033 w 6298415"/>
              <a:gd name="connsiteY2" fmla="*/ 35874 h 6992123"/>
              <a:gd name="connsiteX3" fmla="*/ 6259092 w 6298415"/>
              <a:gd name="connsiteY3" fmla="*/ 0 h 6992123"/>
              <a:gd name="connsiteX4" fmla="*/ 6249964 w 6298415"/>
              <a:gd name="connsiteY4" fmla="*/ 6900353 h 6992123"/>
              <a:gd name="connsiteX0" fmla="*/ 6260995 w 6309446"/>
              <a:gd name="connsiteY0" fmla="*/ 6900353 h 6988646"/>
              <a:gd name="connsiteX1" fmla="*/ 1067578 w 6309446"/>
              <a:gd name="connsiteY1" fmla="*/ 5367372 h 6988646"/>
              <a:gd name="connsiteX2" fmla="*/ 770064 w 6309446"/>
              <a:gd name="connsiteY2" fmla="*/ 35874 h 6988646"/>
              <a:gd name="connsiteX3" fmla="*/ 6270123 w 6309446"/>
              <a:gd name="connsiteY3" fmla="*/ 0 h 6988646"/>
              <a:gd name="connsiteX4" fmla="*/ 6260995 w 6309446"/>
              <a:gd name="connsiteY4" fmla="*/ 6900353 h 6988646"/>
              <a:gd name="connsiteX0" fmla="*/ 6260995 w 6309446"/>
              <a:gd name="connsiteY0" fmla="*/ 6900353 h 7008134"/>
              <a:gd name="connsiteX1" fmla="*/ 1067578 w 6309446"/>
              <a:gd name="connsiteY1" fmla="*/ 5367372 h 7008134"/>
              <a:gd name="connsiteX2" fmla="*/ 770064 w 6309446"/>
              <a:gd name="connsiteY2" fmla="*/ 35874 h 7008134"/>
              <a:gd name="connsiteX3" fmla="*/ 6270123 w 6309446"/>
              <a:gd name="connsiteY3" fmla="*/ 0 h 7008134"/>
              <a:gd name="connsiteX4" fmla="*/ 6260995 w 6309446"/>
              <a:gd name="connsiteY4" fmla="*/ 6900353 h 7008134"/>
              <a:gd name="connsiteX0" fmla="*/ 6260995 w 6309446"/>
              <a:gd name="connsiteY0" fmla="*/ 6900353 h 7085361"/>
              <a:gd name="connsiteX1" fmla="*/ 1067578 w 6309446"/>
              <a:gd name="connsiteY1" fmla="*/ 5367372 h 7085361"/>
              <a:gd name="connsiteX2" fmla="*/ 770064 w 6309446"/>
              <a:gd name="connsiteY2" fmla="*/ 35874 h 7085361"/>
              <a:gd name="connsiteX3" fmla="*/ 6270123 w 6309446"/>
              <a:gd name="connsiteY3" fmla="*/ 0 h 7085361"/>
              <a:gd name="connsiteX4" fmla="*/ 6260995 w 6309446"/>
              <a:gd name="connsiteY4" fmla="*/ 6900353 h 7085361"/>
              <a:gd name="connsiteX0" fmla="*/ 6260995 w 6309446"/>
              <a:gd name="connsiteY0" fmla="*/ 6900353 h 7092195"/>
              <a:gd name="connsiteX1" fmla="*/ 1067578 w 6309446"/>
              <a:gd name="connsiteY1" fmla="*/ 5367372 h 7092195"/>
              <a:gd name="connsiteX2" fmla="*/ 770064 w 6309446"/>
              <a:gd name="connsiteY2" fmla="*/ 35874 h 7092195"/>
              <a:gd name="connsiteX3" fmla="*/ 6270123 w 6309446"/>
              <a:gd name="connsiteY3" fmla="*/ 0 h 7092195"/>
              <a:gd name="connsiteX4" fmla="*/ 6260995 w 6309446"/>
              <a:gd name="connsiteY4" fmla="*/ 6900353 h 7092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446" h="7092195">
                <a:moveTo>
                  <a:pt x="6260995" y="6900353"/>
                </a:moveTo>
                <a:cubicBezTo>
                  <a:pt x="3744791" y="7527740"/>
                  <a:pt x="1982733" y="6511452"/>
                  <a:pt x="1067578" y="5367372"/>
                </a:cubicBezTo>
                <a:cubicBezTo>
                  <a:pt x="152423" y="4223292"/>
                  <a:pt x="-644321" y="2225287"/>
                  <a:pt x="770064" y="35874"/>
                </a:cubicBezTo>
                <a:cubicBezTo>
                  <a:pt x="1071287" y="18224"/>
                  <a:pt x="4801011" y="0"/>
                  <a:pt x="6270123" y="0"/>
                </a:cubicBezTo>
                <a:cubicBezTo>
                  <a:pt x="6375937" y="1980804"/>
                  <a:pt x="6231380" y="4690949"/>
                  <a:pt x="6260995" y="6900353"/>
                </a:cubicBezTo>
                <a:close/>
              </a:path>
            </a:pathLst>
          </a:custGeom>
          <a:solidFill>
            <a:schemeClr val="bg2">
              <a:lumMod val="75000"/>
            </a:schemeClr>
          </a:solidFill>
        </p:spPr>
        <p:txBody>
          <a:bodyPr/>
          <a:lstStyle/>
          <a:p>
            <a:endParaRPr lang="en-MX"/>
          </a:p>
        </p:txBody>
      </p:sp>
      <p:sp>
        <p:nvSpPr>
          <p:cNvPr id="15" name="Title 6">
            <a:extLst>
              <a:ext uri="{FF2B5EF4-FFF2-40B4-BE49-F238E27FC236}">
                <a16:creationId xmlns:a16="http://schemas.microsoft.com/office/drawing/2014/main" id="{28F0CF68-1410-104D-842E-965B94AA0F7A}"/>
              </a:ext>
            </a:extLst>
          </p:cNvPr>
          <p:cNvSpPr>
            <a:spLocks noGrp="1"/>
          </p:cNvSpPr>
          <p:nvPr>
            <p:ph type="title"/>
          </p:nvPr>
        </p:nvSpPr>
        <p:spPr>
          <a:xfrm>
            <a:off x="841652" y="1228637"/>
            <a:ext cx="4339948"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6" name="Text Placeholder 17">
            <a:extLst>
              <a:ext uri="{FF2B5EF4-FFF2-40B4-BE49-F238E27FC236}">
                <a16:creationId xmlns:a16="http://schemas.microsoft.com/office/drawing/2014/main" id="{FB73DCAE-8B3B-9B4C-AEF1-7091EF7BEDB4}"/>
              </a:ext>
            </a:extLst>
          </p:cNvPr>
          <p:cNvSpPr>
            <a:spLocks noGrp="1"/>
          </p:cNvSpPr>
          <p:nvPr>
            <p:ph type="body" sz="quarter" idx="22" hasCustomPrompt="1"/>
          </p:nvPr>
        </p:nvSpPr>
        <p:spPr>
          <a:xfrm>
            <a:off x="841651" y="2574004"/>
            <a:ext cx="4339949" cy="3250858"/>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8" name="Picture 17" descr="A picture containing text, clipart&#10;&#10;Description automatically generated">
            <a:extLst>
              <a:ext uri="{FF2B5EF4-FFF2-40B4-BE49-F238E27FC236}">
                <a16:creationId xmlns:a16="http://schemas.microsoft.com/office/drawing/2014/main" id="{B17B3D56-989F-A24B-A56B-605784BB79D2}"/>
              </a:ext>
            </a:extLst>
          </p:cNvPr>
          <p:cNvPicPr>
            <a:picLocks noChangeAspect="1"/>
          </p:cNvPicPr>
          <p:nvPr userDrawn="1"/>
        </p:nvPicPr>
        <p:blipFill>
          <a:blip r:embed="rId2"/>
          <a:stretch>
            <a:fillRect/>
          </a:stretch>
        </p:blipFill>
        <p:spPr>
          <a:xfrm>
            <a:off x="380103" y="381651"/>
            <a:ext cx="1738361" cy="194422"/>
          </a:xfrm>
          <a:prstGeom prst="rect">
            <a:avLst/>
          </a:prstGeom>
        </p:spPr>
      </p:pic>
      <p:sp>
        <p:nvSpPr>
          <p:cNvPr id="20" name="Text Placeholder 16">
            <a:extLst>
              <a:ext uri="{FF2B5EF4-FFF2-40B4-BE49-F238E27FC236}">
                <a16:creationId xmlns:a16="http://schemas.microsoft.com/office/drawing/2014/main" id="{4FD28FB8-D685-434E-890E-A678345A2BC7}"/>
              </a:ext>
            </a:extLst>
          </p:cNvPr>
          <p:cNvSpPr>
            <a:spLocks noGrp="1"/>
          </p:cNvSpPr>
          <p:nvPr>
            <p:ph type="body" sz="quarter" idx="10" hasCustomPrompt="1"/>
          </p:nvPr>
        </p:nvSpPr>
        <p:spPr>
          <a:xfrm>
            <a:off x="841651" y="1850571"/>
            <a:ext cx="4349252" cy="289589"/>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3" name="Picture 2" descr="Arrow&#10;&#10;Description automatically generated with medium confidence">
            <a:extLst>
              <a:ext uri="{FF2B5EF4-FFF2-40B4-BE49-F238E27FC236}">
                <a16:creationId xmlns:a16="http://schemas.microsoft.com/office/drawing/2014/main" id="{E50F9CD5-F18C-8844-A8EB-0C82EA92EA32}"/>
              </a:ext>
            </a:extLst>
          </p:cNvPr>
          <p:cNvPicPr>
            <a:picLocks noChangeAspect="1"/>
          </p:cNvPicPr>
          <p:nvPr userDrawn="1"/>
        </p:nvPicPr>
        <p:blipFill>
          <a:blip r:embed="rId3"/>
          <a:stretch>
            <a:fillRect/>
          </a:stretch>
        </p:blipFill>
        <p:spPr>
          <a:xfrm>
            <a:off x="0" y="4635500"/>
            <a:ext cx="1790700" cy="2222500"/>
          </a:xfrm>
          <a:prstGeom prst="rect">
            <a:avLst/>
          </a:prstGeom>
        </p:spPr>
      </p:pic>
    </p:spTree>
    <p:extLst>
      <p:ext uri="{BB962C8B-B14F-4D97-AF65-F5344CB8AC3E}">
        <p14:creationId xmlns:p14="http://schemas.microsoft.com/office/powerpoint/2010/main" val="32118342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ide_Picture Slide_6">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6" name="Picture Placeholder 4">
            <a:extLst>
              <a:ext uri="{FF2B5EF4-FFF2-40B4-BE49-F238E27FC236}">
                <a16:creationId xmlns:a16="http://schemas.microsoft.com/office/drawing/2014/main" id="{E86CE9A2-E2C6-1292-BA1C-4228679AF1AD}"/>
              </a:ext>
            </a:extLst>
          </p:cNvPr>
          <p:cNvSpPr>
            <a:spLocks noGrp="1"/>
          </p:cNvSpPr>
          <p:nvPr>
            <p:ph type="pic" sz="quarter" idx="23"/>
          </p:nvPr>
        </p:nvSpPr>
        <p:spPr>
          <a:xfrm>
            <a:off x="-29068" y="2884756"/>
            <a:ext cx="4322298" cy="4086388"/>
          </a:xfrm>
          <a:custGeom>
            <a:avLst/>
            <a:gdLst>
              <a:gd name="connsiteX0" fmla="*/ 4110264 w 4973638"/>
              <a:gd name="connsiteY0" fmla="*/ 3766570 h 4286250"/>
              <a:gd name="connsiteX1" fmla="*/ 1379033 w 4973638"/>
              <a:gd name="connsiteY1" fmla="*/ 4061866 h 4286250"/>
              <a:gd name="connsiteX2" fmla="*/ 112134 w 4973638"/>
              <a:gd name="connsiteY2" fmla="*/ 1506830 h 4286250"/>
              <a:gd name="connsiteX3" fmla="*/ 2486818 w 4973638"/>
              <a:gd name="connsiteY3" fmla="*/ 0 h 4286250"/>
              <a:gd name="connsiteX4" fmla="*/ 4110264 w 4973638"/>
              <a:gd name="connsiteY4" fmla="*/ 3766570 h 4286250"/>
              <a:gd name="connsiteX0" fmla="*/ 4197538 w 4197538"/>
              <a:gd name="connsiteY0" fmla="*/ 3896110 h 4492049"/>
              <a:gd name="connsiteX1" fmla="*/ 1466307 w 4197538"/>
              <a:gd name="connsiteY1" fmla="*/ 4191406 h 4492049"/>
              <a:gd name="connsiteX2" fmla="*/ 73028 w 4197538"/>
              <a:gd name="connsiteY2" fmla="*/ 543551 h 4492049"/>
              <a:gd name="connsiteX3" fmla="*/ 2574092 w 4197538"/>
              <a:gd name="connsiteY3" fmla="*/ 129540 h 4492049"/>
              <a:gd name="connsiteX4" fmla="*/ 4197538 w 4197538"/>
              <a:gd name="connsiteY4" fmla="*/ 3896110 h 4492049"/>
              <a:gd name="connsiteX0" fmla="*/ 4534385 w 4534385"/>
              <a:gd name="connsiteY0" fmla="*/ 3896110 h 4661190"/>
              <a:gd name="connsiteX1" fmla="*/ 398100 w 4534385"/>
              <a:gd name="connsiteY1" fmla="*/ 4421864 h 4661190"/>
              <a:gd name="connsiteX2" fmla="*/ 409875 w 4534385"/>
              <a:gd name="connsiteY2" fmla="*/ 543551 h 4661190"/>
              <a:gd name="connsiteX3" fmla="*/ 2910939 w 4534385"/>
              <a:gd name="connsiteY3" fmla="*/ 129540 h 4661190"/>
              <a:gd name="connsiteX4" fmla="*/ 4534385 w 4534385"/>
              <a:gd name="connsiteY4" fmla="*/ 3896110 h 4661190"/>
              <a:gd name="connsiteX0" fmla="*/ 4566218 w 4566218"/>
              <a:gd name="connsiteY0" fmla="*/ 4401632 h 4865224"/>
              <a:gd name="connsiteX1" fmla="*/ 400196 w 4566218"/>
              <a:gd name="connsiteY1" fmla="*/ 4421864 h 4865224"/>
              <a:gd name="connsiteX2" fmla="*/ 411971 w 4566218"/>
              <a:gd name="connsiteY2" fmla="*/ 543551 h 4865224"/>
              <a:gd name="connsiteX3" fmla="*/ 2913035 w 4566218"/>
              <a:gd name="connsiteY3" fmla="*/ 129540 h 4865224"/>
              <a:gd name="connsiteX4" fmla="*/ 4566218 w 4566218"/>
              <a:gd name="connsiteY4" fmla="*/ 4401632 h 4865224"/>
              <a:gd name="connsiteX0" fmla="*/ 4566218 w 4714775"/>
              <a:gd name="connsiteY0" fmla="*/ 4401632 h 4865224"/>
              <a:gd name="connsiteX1" fmla="*/ 400196 w 4714775"/>
              <a:gd name="connsiteY1" fmla="*/ 4421864 h 4865224"/>
              <a:gd name="connsiteX2" fmla="*/ 411971 w 4714775"/>
              <a:gd name="connsiteY2" fmla="*/ 543551 h 4865224"/>
              <a:gd name="connsiteX3" fmla="*/ 2913035 w 4714775"/>
              <a:gd name="connsiteY3" fmla="*/ 129540 h 4865224"/>
              <a:gd name="connsiteX4" fmla="*/ 4566218 w 4714775"/>
              <a:gd name="connsiteY4" fmla="*/ 4401632 h 4865224"/>
              <a:gd name="connsiteX0" fmla="*/ 4566218 w 4702821"/>
              <a:gd name="connsiteY0" fmla="*/ 4246407 h 4709999"/>
              <a:gd name="connsiteX1" fmla="*/ 400196 w 4702821"/>
              <a:gd name="connsiteY1" fmla="*/ 4266639 h 4709999"/>
              <a:gd name="connsiteX2" fmla="*/ 411971 w 4702821"/>
              <a:gd name="connsiteY2" fmla="*/ 388326 h 4709999"/>
              <a:gd name="connsiteX3" fmla="*/ 2712313 w 4702821"/>
              <a:gd name="connsiteY3" fmla="*/ 427798 h 4709999"/>
              <a:gd name="connsiteX4" fmla="*/ 4566218 w 4702821"/>
              <a:gd name="connsiteY4" fmla="*/ 4246407 h 4709999"/>
              <a:gd name="connsiteX0" fmla="*/ 4566218 w 4726514"/>
              <a:gd name="connsiteY0" fmla="*/ 4246407 h 4709999"/>
              <a:gd name="connsiteX1" fmla="*/ 400196 w 4726514"/>
              <a:gd name="connsiteY1" fmla="*/ 4266639 h 4709999"/>
              <a:gd name="connsiteX2" fmla="*/ 411971 w 4726514"/>
              <a:gd name="connsiteY2" fmla="*/ 388326 h 4709999"/>
              <a:gd name="connsiteX3" fmla="*/ 2712313 w 4726514"/>
              <a:gd name="connsiteY3" fmla="*/ 427798 h 4709999"/>
              <a:gd name="connsiteX4" fmla="*/ 4566218 w 4726514"/>
              <a:gd name="connsiteY4" fmla="*/ 4246407 h 4709999"/>
              <a:gd name="connsiteX0" fmla="*/ 4569610 w 4729906"/>
              <a:gd name="connsiteY0" fmla="*/ 4257640 h 4722205"/>
              <a:gd name="connsiteX1" fmla="*/ 403588 w 4729906"/>
              <a:gd name="connsiteY1" fmla="*/ 4277872 h 4722205"/>
              <a:gd name="connsiteX2" fmla="*/ 407929 w 4729906"/>
              <a:gd name="connsiteY2" fmla="*/ 384690 h 4722205"/>
              <a:gd name="connsiteX3" fmla="*/ 2715705 w 4729906"/>
              <a:gd name="connsiteY3" fmla="*/ 439031 h 4722205"/>
              <a:gd name="connsiteX4" fmla="*/ 4569610 w 4729906"/>
              <a:gd name="connsiteY4" fmla="*/ 4257640 h 4722205"/>
              <a:gd name="connsiteX0" fmla="*/ 4569610 w 4729906"/>
              <a:gd name="connsiteY0" fmla="*/ 3958249 h 4422814"/>
              <a:gd name="connsiteX1" fmla="*/ 403588 w 4729906"/>
              <a:gd name="connsiteY1" fmla="*/ 3978481 h 4422814"/>
              <a:gd name="connsiteX2" fmla="*/ 407929 w 4729906"/>
              <a:gd name="connsiteY2" fmla="*/ 85299 h 4422814"/>
              <a:gd name="connsiteX3" fmla="*/ 2715705 w 4729906"/>
              <a:gd name="connsiteY3" fmla="*/ 139640 h 4422814"/>
              <a:gd name="connsiteX4" fmla="*/ 4569610 w 4729906"/>
              <a:gd name="connsiteY4" fmla="*/ 3958249 h 4422814"/>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3967889 h 4432454"/>
              <a:gd name="connsiteX1" fmla="*/ 403588 w 4729906"/>
              <a:gd name="connsiteY1" fmla="*/ 3988121 h 4432454"/>
              <a:gd name="connsiteX2" fmla="*/ 407929 w 4729906"/>
              <a:gd name="connsiteY2" fmla="*/ 94939 h 4432454"/>
              <a:gd name="connsiteX3" fmla="*/ 2715705 w 4729906"/>
              <a:gd name="connsiteY3" fmla="*/ 149280 h 4432454"/>
              <a:gd name="connsiteX4" fmla="*/ 4569610 w 4729906"/>
              <a:gd name="connsiteY4" fmla="*/ 3967889 h 4432454"/>
              <a:gd name="connsiteX0" fmla="*/ 4569610 w 4729906"/>
              <a:gd name="connsiteY0" fmla="*/ 3961147 h 4425712"/>
              <a:gd name="connsiteX1" fmla="*/ 403588 w 4729906"/>
              <a:gd name="connsiteY1" fmla="*/ 3981379 h 4425712"/>
              <a:gd name="connsiteX2" fmla="*/ 407929 w 4729906"/>
              <a:gd name="connsiteY2" fmla="*/ 88197 h 4425712"/>
              <a:gd name="connsiteX3" fmla="*/ 2715705 w 4729906"/>
              <a:gd name="connsiteY3" fmla="*/ 142538 h 4425712"/>
              <a:gd name="connsiteX4" fmla="*/ 4569610 w 4729906"/>
              <a:gd name="connsiteY4" fmla="*/ 3961147 h 4425712"/>
              <a:gd name="connsiteX0" fmla="*/ 4569610 w 4731390"/>
              <a:gd name="connsiteY0" fmla="*/ 3955154 h 4419719"/>
              <a:gd name="connsiteX1" fmla="*/ 403588 w 4731390"/>
              <a:gd name="connsiteY1" fmla="*/ 3975386 h 4419719"/>
              <a:gd name="connsiteX2" fmla="*/ 407929 w 4731390"/>
              <a:gd name="connsiteY2" fmla="*/ 82204 h 4419719"/>
              <a:gd name="connsiteX3" fmla="*/ 2735583 w 4731390"/>
              <a:gd name="connsiteY3" fmla="*/ 151454 h 4419719"/>
              <a:gd name="connsiteX4" fmla="*/ 4569610 w 4731390"/>
              <a:gd name="connsiteY4" fmla="*/ 3955154 h 4419719"/>
              <a:gd name="connsiteX0" fmla="*/ 4569610 w 4729906"/>
              <a:gd name="connsiteY0" fmla="*/ 3959089 h 4423654"/>
              <a:gd name="connsiteX1" fmla="*/ 403588 w 4729906"/>
              <a:gd name="connsiteY1" fmla="*/ 3979321 h 4423654"/>
              <a:gd name="connsiteX2" fmla="*/ 407929 w 4729906"/>
              <a:gd name="connsiteY2" fmla="*/ 86139 h 4423654"/>
              <a:gd name="connsiteX3" fmla="*/ 2715705 w 4729906"/>
              <a:gd name="connsiteY3" fmla="*/ 145450 h 4423654"/>
              <a:gd name="connsiteX4" fmla="*/ 4569610 w 4729906"/>
              <a:gd name="connsiteY4" fmla="*/ 3959089 h 4423654"/>
              <a:gd name="connsiteX0" fmla="*/ 4553655 w 4715061"/>
              <a:gd name="connsiteY0" fmla="*/ 3964058 h 4426283"/>
              <a:gd name="connsiteX1" fmla="*/ 402542 w 4715061"/>
              <a:gd name="connsiteY1" fmla="*/ 3979321 h 4426283"/>
              <a:gd name="connsiteX2" fmla="*/ 406883 w 4715061"/>
              <a:gd name="connsiteY2" fmla="*/ 86139 h 4426283"/>
              <a:gd name="connsiteX3" fmla="*/ 2714659 w 4715061"/>
              <a:gd name="connsiteY3" fmla="*/ 145450 h 4426283"/>
              <a:gd name="connsiteX4" fmla="*/ 4553655 w 4715061"/>
              <a:gd name="connsiteY4" fmla="*/ 3964058 h 4426283"/>
              <a:gd name="connsiteX0" fmla="*/ 4553655 w 4720275"/>
              <a:gd name="connsiteY0" fmla="*/ 3964058 h 4426283"/>
              <a:gd name="connsiteX1" fmla="*/ 402542 w 4720275"/>
              <a:gd name="connsiteY1" fmla="*/ 3979321 h 4426283"/>
              <a:gd name="connsiteX2" fmla="*/ 406883 w 4720275"/>
              <a:gd name="connsiteY2" fmla="*/ 86139 h 4426283"/>
              <a:gd name="connsiteX3" fmla="*/ 2714659 w 4720275"/>
              <a:gd name="connsiteY3" fmla="*/ 145450 h 4426283"/>
              <a:gd name="connsiteX4" fmla="*/ 4553655 w 4720275"/>
              <a:gd name="connsiteY4" fmla="*/ 3964058 h 4426283"/>
              <a:gd name="connsiteX0" fmla="*/ 4319549 w 4486169"/>
              <a:gd name="connsiteY0" fmla="*/ 3964058 h 4546245"/>
              <a:gd name="connsiteX1" fmla="*/ 168436 w 4486169"/>
              <a:gd name="connsiteY1" fmla="*/ 3979321 h 4546245"/>
              <a:gd name="connsiteX2" fmla="*/ 172777 w 4486169"/>
              <a:gd name="connsiteY2" fmla="*/ 86139 h 4546245"/>
              <a:gd name="connsiteX3" fmla="*/ 2480553 w 4486169"/>
              <a:gd name="connsiteY3" fmla="*/ 145450 h 4546245"/>
              <a:gd name="connsiteX4" fmla="*/ 4319549 w 4486169"/>
              <a:gd name="connsiteY4" fmla="*/ 3964058 h 4546245"/>
              <a:gd name="connsiteX0" fmla="*/ 4364562 w 4531182"/>
              <a:gd name="connsiteY0" fmla="*/ 3964058 h 4249930"/>
              <a:gd name="connsiteX1" fmla="*/ 213449 w 4531182"/>
              <a:gd name="connsiteY1" fmla="*/ 3979321 h 4249930"/>
              <a:gd name="connsiteX2" fmla="*/ 217790 w 4531182"/>
              <a:gd name="connsiteY2" fmla="*/ 86139 h 4249930"/>
              <a:gd name="connsiteX3" fmla="*/ 2525566 w 4531182"/>
              <a:gd name="connsiteY3" fmla="*/ 145450 h 4249930"/>
              <a:gd name="connsiteX4" fmla="*/ 4364562 w 4531182"/>
              <a:gd name="connsiteY4" fmla="*/ 3964058 h 4249930"/>
              <a:gd name="connsiteX0" fmla="*/ 4364562 w 4531182"/>
              <a:gd name="connsiteY0" fmla="*/ 3964058 h 4075864"/>
              <a:gd name="connsiteX1" fmla="*/ 213449 w 4531182"/>
              <a:gd name="connsiteY1" fmla="*/ 3979321 h 4075864"/>
              <a:gd name="connsiteX2" fmla="*/ 217790 w 4531182"/>
              <a:gd name="connsiteY2" fmla="*/ 86139 h 4075864"/>
              <a:gd name="connsiteX3" fmla="*/ 2525566 w 4531182"/>
              <a:gd name="connsiteY3" fmla="*/ 145450 h 4075864"/>
              <a:gd name="connsiteX4" fmla="*/ 4364562 w 4531182"/>
              <a:gd name="connsiteY4" fmla="*/ 3964058 h 4075864"/>
              <a:gd name="connsiteX0" fmla="*/ 4545978 w 4713148"/>
              <a:gd name="connsiteY0" fmla="*/ 3985573 h 4306667"/>
              <a:gd name="connsiteX1" fmla="*/ 402037 w 4713148"/>
              <a:gd name="connsiteY1" fmla="*/ 3979321 h 4306667"/>
              <a:gd name="connsiteX2" fmla="*/ 406378 w 4713148"/>
              <a:gd name="connsiteY2" fmla="*/ 86139 h 4306667"/>
              <a:gd name="connsiteX3" fmla="*/ 2714154 w 4713148"/>
              <a:gd name="connsiteY3" fmla="*/ 145450 h 4306667"/>
              <a:gd name="connsiteX4" fmla="*/ 4545978 w 4713148"/>
              <a:gd name="connsiteY4" fmla="*/ 3985573 h 4306667"/>
              <a:gd name="connsiteX0" fmla="*/ 4511441 w 4681129"/>
              <a:gd name="connsiteY0" fmla="*/ 4032190 h 4325515"/>
              <a:gd name="connsiteX1" fmla="*/ 399773 w 4681129"/>
              <a:gd name="connsiteY1" fmla="*/ 3979321 h 4325515"/>
              <a:gd name="connsiteX2" fmla="*/ 404114 w 4681129"/>
              <a:gd name="connsiteY2" fmla="*/ 86139 h 4325515"/>
              <a:gd name="connsiteX3" fmla="*/ 2711890 w 4681129"/>
              <a:gd name="connsiteY3" fmla="*/ 145450 h 4325515"/>
              <a:gd name="connsiteX4" fmla="*/ 4511441 w 4681129"/>
              <a:gd name="connsiteY4" fmla="*/ 4032190 h 4325515"/>
              <a:gd name="connsiteX0" fmla="*/ 4511441 w 4708199"/>
              <a:gd name="connsiteY0" fmla="*/ 4032190 h 4325515"/>
              <a:gd name="connsiteX1" fmla="*/ 399773 w 4708199"/>
              <a:gd name="connsiteY1" fmla="*/ 3979321 h 4325515"/>
              <a:gd name="connsiteX2" fmla="*/ 404114 w 4708199"/>
              <a:gd name="connsiteY2" fmla="*/ 86139 h 4325515"/>
              <a:gd name="connsiteX3" fmla="*/ 2711890 w 4708199"/>
              <a:gd name="connsiteY3" fmla="*/ 145450 h 4325515"/>
              <a:gd name="connsiteX4" fmla="*/ 4511441 w 4708199"/>
              <a:gd name="connsiteY4" fmla="*/ 4032190 h 4325515"/>
              <a:gd name="connsiteX0" fmla="*/ 4511441 w 4705591"/>
              <a:gd name="connsiteY0" fmla="*/ 4032190 h 4325515"/>
              <a:gd name="connsiteX1" fmla="*/ 399773 w 4705591"/>
              <a:gd name="connsiteY1" fmla="*/ 3979321 h 4325515"/>
              <a:gd name="connsiteX2" fmla="*/ 404114 w 4705591"/>
              <a:gd name="connsiteY2" fmla="*/ 86139 h 4325515"/>
              <a:gd name="connsiteX3" fmla="*/ 2711890 w 4705591"/>
              <a:gd name="connsiteY3" fmla="*/ 145450 h 4325515"/>
              <a:gd name="connsiteX4" fmla="*/ 4511441 w 4705591"/>
              <a:gd name="connsiteY4" fmla="*/ 4032190 h 4325515"/>
              <a:gd name="connsiteX0" fmla="*/ 4534465 w 4726788"/>
              <a:gd name="connsiteY0" fmla="*/ 4014261 h 4318123"/>
              <a:gd name="connsiteX1" fmla="*/ 401282 w 4726788"/>
              <a:gd name="connsiteY1" fmla="*/ 3979321 h 4318123"/>
              <a:gd name="connsiteX2" fmla="*/ 405623 w 4726788"/>
              <a:gd name="connsiteY2" fmla="*/ 86139 h 4318123"/>
              <a:gd name="connsiteX3" fmla="*/ 2713399 w 4726788"/>
              <a:gd name="connsiteY3" fmla="*/ 145450 h 4318123"/>
              <a:gd name="connsiteX4" fmla="*/ 4534465 w 4726788"/>
              <a:gd name="connsiteY4" fmla="*/ 4014261 h 4318123"/>
              <a:gd name="connsiteX0" fmla="*/ 4534465 w 4717758"/>
              <a:gd name="connsiteY0" fmla="*/ 4014261 h 4318123"/>
              <a:gd name="connsiteX1" fmla="*/ 401282 w 4717758"/>
              <a:gd name="connsiteY1" fmla="*/ 3979321 h 4318123"/>
              <a:gd name="connsiteX2" fmla="*/ 405623 w 4717758"/>
              <a:gd name="connsiteY2" fmla="*/ 86139 h 4318123"/>
              <a:gd name="connsiteX3" fmla="*/ 2713399 w 4717758"/>
              <a:gd name="connsiteY3" fmla="*/ 145450 h 4318123"/>
              <a:gd name="connsiteX4" fmla="*/ 4534465 w 4717758"/>
              <a:gd name="connsiteY4" fmla="*/ 4014261 h 4318123"/>
              <a:gd name="connsiteX0" fmla="*/ 4534465 w 4720533"/>
              <a:gd name="connsiteY0" fmla="*/ 4014261 h 4318123"/>
              <a:gd name="connsiteX1" fmla="*/ 401282 w 4720533"/>
              <a:gd name="connsiteY1" fmla="*/ 3979321 h 4318123"/>
              <a:gd name="connsiteX2" fmla="*/ 405623 w 4720533"/>
              <a:gd name="connsiteY2" fmla="*/ 86139 h 4318123"/>
              <a:gd name="connsiteX3" fmla="*/ 2713399 w 4720533"/>
              <a:gd name="connsiteY3" fmla="*/ 145450 h 4318123"/>
              <a:gd name="connsiteX4" fmla="*/ 4534465 w 4720533"/>
              <a:gd name="connsiteY4" fmla="*/ 4014261 h 4318123"/>
              <a:gd name="connsiteX0" fmla="*/ 4302515 w 4488583"/>
              <a:gd name="connsiteY0" fmla="*/ 4014261 h 4086368"/>
              <a:gd name="connsiteX1" fmla="*/ 169332 w 4488583"/>
              <a:gd name="connsiteY1" fmla="*/ 3979321 h 4086368"/>
              <a:gd name="connsiteX2" fmla="*/ 173673 w 4488583"/>
              <a:gd name="connsiteY2" fmla="*/ 86139 h 4086368"/>
              <a:gd name="connsiteX3" fmla="*/ 2481449 w 4488583"/>
              <a:gd name="connsiteY3" fmla="*/ 145450 h 4086368"/>
              <a:gd name="connsiteX4" fmla="*/ 4302515 w 4488583"/>
              <a:gd name="connsiteY4" fmla="*/ 4014261 h 4086368"/>
              <a:gd name="connsiteX0" fmla="*/ 4302515 w 4488583"/>
              <a:gd name="connsiteY0" fmla="*/ 4014261 h 4086369"/>
              <a:gd name="connsiteX1" fmla="*/ 169332 w 4488583"/>
              <a:gd name="connsiteY1" fmla="*/ 3979321 h 4086369"/>
              <a:gd name="connsiteX2" fmla="*/ 173673 w 4488583"/>
              <a:gd name="connsiteY2" fmla="*/ 86139 h 4086369"/>
              <a:gd name="connsiteX3" fmla="*/ 2481449 w 4488583"/>
              <a:gd name="connsiteY3" fmla="*/ 145450 h 4086369"/>
              <a:gd name="connsiteX4" fmla="*/ 4302515 w 4488583"/>
              <a:gd name="connsiteY4" fmla="*/ 4014261 h 4086369"/>
              <a:gd name="connsiteX0" fmla="*/ 4159964 w 4346032"/>
              <a:gd name="connsiteY0" fmla="*/ 4014261 h 4086369"/>
              <a:gd name="connsiteX1" fmla="*/ 26781 w 4346032"/>
              <a:gd name="connsiteY1" fmla="*/ 3979321 h 4086369"/>
              <a:gd name="connsiteX2" fmla="*/ 31122 w 4346032"/>
              <a:gd name="connsiteY2" fmla="*/ 86139 h 4086369"/>
              <a:gd name="connsiteX3" fmla="*/ 2338898 w 4346032"/>
              <a:gd name="connsiteY3" fmla="*/ 145450 h 4086369"/>
              <a:gd name="connsiteX4" fmla="*/ 4159964 w 4346032"/>
              <a:gd name="connsiteY4" fmla="*/ 4014261 h 4086369"/>
              <a:gd name="connsiteX0" fmla="*/ 4155332 w 4341400"/>
              <a:gd name="connsiteY0" fmla="*/ 4014261 h 4086369"/>
              <a:gd name="connsiteX1" fmla="*/ 22149 w 4341400"/>
              <a:gd name="connsiteY1" fmla="*/ 3979321 h 4086369"/>
              <a:gd name="connsiteX2" fmla="*/ 26490 w 4341400"/>
              <a:gd name="connsiteY2" fmla="*/ 86139 h 4086369"/>
              <a:gd name="connsiteX3" fmla="*/ 2334266 w 4341400"/>
              <a:gd name="connsiteY3" fmla="*/ 145450 h 4086369"/>
              <a:gd name="connsiteX4" fmla="*/ 4155332 w 4341400"/>
              <a:gd name="connsiteY4" fmla="*/ 4014261 h 4086369"/>
              <a:gd name="connsiteX0" fmla="*/ 4136230 w 4322298"/>
              <a:gd name="connsiteY0" fmla="*/ 4014261 h 4086388"/>
              <a:gd name="connsiteX1" fmla="*/ 3047 w 4322298"/>
              <a:gd name="connsiteY1" fmla="*/ 3979321 h 4086388"/>
              <a:gd name="connsiteX2" fmla="*/ 7388 w 4322298"/>
              <a:gd name="connsiteY2" fmla="*/ 86139 h 4086388"/>
              <a:gd name="connsiteX3" fmla="*/ 2315164 w 4322298"/>
              <a:gd name="connsiteY3" fmla="*/ 145450 h 4086388"/>
              <a:gd name="connsiteX4" fmla="*/ 4136230 w 4322298"/>
              <a:gd name="connsiteY4" fmla="*/ 4014261 h 4086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2298" h="4086388">
                <a:moveTo>
                  <a:pt x="4136230" y="4014261"/>
                </a:moveTo>
                <a:cubicBezTo>
                  <a:pt x="3849913" y="4165062"/>
                  <a:pt x="3290" y="4042420"/>
                  <a:pt x="3047" y="3979321"/>
                </a:cubicBezTo>
                <a:cubicBezTo>
                  <a:pt x="-2633" y="2503630"/>
                  <a:pt x="93" y="1309077"/>
                  <a:pt x="7388" y="86139"/>
                </a:cubicBezTo>
                <a:cubicBezTo>
                  <a:pt x="941005" y="-44093"/>
                  <a:pt x="1569045" y="-28484"/>
                  <a:pt x="2315164" y="145450"/>
                </a:cubicBezTo>
                <a:cubicBezTo>
                  <a:pt x="3296094" y="412823"/>
                  <a:pt x="4862309" y="1541229"/>
                  <a:pt x="4136230" y="4014261"/>
                </a:cubicBezTo>
                <a:close/>
              </a:path>
            </a:pathLst>
          </a:custGeom>
          <a:solidFill>
            <a:schemeClr val="bg2">
              <a:lumMod val="75000"/>
            </a:schemeClr>
          </a:solidFill>
        </p:spPr>
        <p:txBody>
          <a:bodyPr/>
          <a:lstStyle/>
          <a:p>
            <a:endParaRPr lang="en-MX"/>
          </a:p>
        </p:txBody>
      </p:sp>
      <p:pic>
        <p:nvPicPr>
          <p:cNvPr id="18" name="Picture 17">
            <a:extLst>
              <a:ext uri="{FF2B5EF4-FFF2-40B4-BE49-F238E27FC236}">
                <a16:creationId xmlns:a16="http://schemas.microsoft.com/office/drawing/2014/main" id="{413DCCBD-9951-87B7-3598-FE30C56DE7BD}"/>
              </a:ext>
            </a:extLst>
          </p:cNvPr>
          <p:cNvPicPr>
            <a:picLocks noChangeAspect="1"/>
          </p:cNvPicPr>
          <p:nvPr userDrawn="1"/>
        </p:nvPicPr>
        <p:blipFill>
          <a:blip r:embed="rId2"/>
          <a:stretch>
            <a:fillRect/>
          </a:stretch>
        </p:blipFill>
        <p:spPr>
          <a:xfrm>
            <a:off x="3213029" y="2884756"/>
            <a:ext cx="1371600" cy="1930400"/>
          </a:xfrm>
          <a:prstGeom prst="rect">
            <a:avLst/>
          </a:prstGeom>
        </p:spPr>
      </p:pic>
      <p:pic>
        <p:nvPicPr>
          <p:cNvPr id="19" name="Picture 18" descr="A picture containing text, clipart&#10;&#10;Description automatically generated">
            <a:extLst>
              <a:ext uri="{FF2B5EF4-FFF2-40B4-BE49-F238E27FC236}">
                <a16:creationId xmlns:a16="http://schemas.microsoft.com/office/drawing/2014/main" id="{269A43CC-073F-758A-FA48-A1AC69B6CCB5}"/>
              </a:ext>
            </a:extLst>
          </p:cNvPr>
          <p:cNvPicPr>
            <a:picLocks noChangeAspect="1"/>
          </p:cNvPicPr>
          <p:nvPr userDrawn="1"/>
        </p:nvPicPr>
        <p:blipFill>
          <a:blip r:embed="rId3"/>
          <a:stretch>
            <a:fillRect/>
          </a:stretch>
        </p:blipFill>
        <p:spPr>
          <a:xfrm>
            <a:off x="10133703" y="6325250"/>
            <a:ext cx="1738361" cy="194422"/>
          </a:xfrm>
          <a:prstGeom prst="rect">
            <a:avLst/>
          </a:prstGeom>
        </p:spPr>
      </p:pic>
      <p:sp>
        <p:nvSpPr>
          <p:cNvPr id="20" name="Text Placeholder 20">
            <a:extLst>
              <a:ext uri="{FF2B5EF4-FFF2-40B4-BE49-F238E27FC236}">
                <a16:creationId xmlns:a16="http://schemas.microsoft.com/office/drawing/2014/main" id="{84540D9C-B080-7FDB-C1E5-177B58E4240B}"/>
              </a:ext>
            </a:extLst>
          </p:cNvPr>
          <p:cNvSpPr>
            <a:spLocks noGrp="1"/>
          </p:cNvSpPr>
          <p:nvPr>
            <p:ph type="body" sz="quarter" idx="16" hasCustomPrompt="1"/>
          </p:nvPr>
        </p:nvSpPr>
        <p:spPr>
          <a:xfrm>
            <a:off x="5271806" y="3064272"/>
            <a:ext cx="6168875" cy="2637719"/>
          </a:xfrm>
          <a:prstGeom prst="roundRect">
            <a:avLst/>
          </a:prstGeom>
          <a:solidFill>
            <a:srgbClr val="CAEBCC"/>
          </a:solidFill>
        </p:spPr>
        <p:txBody>
          <a:bodyPr>
            <a:normAutofit/>
          </a:bodyPr>
          <a:lstStyle>
            <a:lvl1pPr marL="0" indent="0" algn="l">
              <a:buFont typeface="Arial" panose="020B0604020202020204" pitchFamily="34" charset="0"/>
              <a:buNone/>
              <a:defRPr sz="1800">
                <a:solidFill>
                  <a:schemeClr val="tx1"/>
                </a:solidFill>
              </a:defRPr>
            </a:lvl1pPr>
          </a:lstStyle>
          <a:p>
            <a:pPr lvl="0"/>
            <a:r>
              <a:rPr lang="en-US" dirty="0"/>
              <a:t>Add text</a:t>
            </a:r>
          </a:p>
        </p:txBody>
      </p:sp>
    </p:spTree>
    <p:extLst>
      <p:ext uri="{BB962C8B-B14F-4D97-AF65-F5344CB8AC3E}">
        <p14:creationId xmlns:p14="http://schemas.microsoft.com/office/powerpoint/2010/main" val="777665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ide_Screenshot Slide_7">
    <p:spTree>
      <p:nvGrpSpPr>
        <p:cNvPr id="1" name=""/>
        <p:cNvGrpSpPr/>
        <p:nvPr/>
      </p:nvGrpSpPr>
      <p:grpSpPr>
        <a:xfrm>
          <a:off x="0" y="0"/>
          <a:ext cx="0" cy="0"/>
          <a:chOff x="0" y="0"/>
          <a:chExt cx="0" cy="0"/>
        </a:xfrm>
      </p:grpSpPr>
      <p:pic>
        <p:nvPicPr>
          <p:cNvPr id="6" name="Picture 5" descr="Shape&#10;&#10;Description automatically generated">
            <a:extLst>
              <a:ext uri="{FF2B5EF4-FFF2-40B4-BE49-F238E27FC236}">
                <a16:creationId xmlns:a16="http://schemas.microsoft.com/office/drawing/2014/main" id="{335B26CB-A421-07AE-B13A-ACB7677E05D4}"/>
              </a:ext>
            </a:extLst>
          </p:cNvPr>
          <p:cNvPicPr>
            <a:picLocks noChangeAspect="1"/>
          </p:cNvPicPr>
          <p:nvPr userDrawn="1"/>
        </p:nvPicPr>
        <p:blipFill>
          <a:blip r:embed="rId2"/>
          <a:stretch>
            <a:fillRect/>
          </a:stretch>
        </p:blipFill>
        <p:spPr>
          <a:xfrm>
            <a:off x="0" y="4047066"/>
            <a:ext cx="4955273" cy="2810933"/>
          </a:xfrm>
          <a:prstGeom prst="rect">
            <a:avLst/>
          </a:prstGeom>
        </p:spPr>
      </p:pic>
      <p:sp>
        <p:nvSpPr>
          <p:cNvPr id="3" name="Title 6">
            <a:extLst>
              <a:ext uri="{FF2B5EF4-FFF2-40B4-BE49-F238E27FC236}">
                <a16:creationId xmlns:a16="http://schemas.microsoft.com/office/drawing/2014/main" id="{9583E18D-E253-604A-BBA4-FCA1B4805463}"/>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r>
              <a:rPr lang="en-US" dirty="0"/>
              <a:t>Click to add title</a:t>
            </a:r>
          </a:p>
        </p:txBody>
      </p:sp>
      <p:sp>
        <p:nvSpPr>
          <p:cNvPr id="4" name="Text Placeholder 16">
            <a:extLst>
              <a:ext uri="{FF2B5EF4-FFF2-40B4-BE49-F238E27FC236}">
                <a16:creationId xmlns:a16="http://schemas.microsoft.com/office/drawing/2014/main" id="{827B0376-9B21-D349-91DA-B4930FE74DB7}"/>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20" name="Picture 19">
            <a:extLst>
              <a:ext uri="{FF2B5EF4-FFF2-40B4-BE49-F238E27FC236}">
                <a16:creationId xmlns:a16="http://schemas.microsoft.com/office/drawing/2014/main" id="{1AB1D085-4F25-BF4D-9D80-6F7003F22B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72587" y="2909943"/>
            <a:ext cx="328126" cy="328126"/>
          </a:xfrm>
          <a:prstGeom prst="rect">
            <a:avLst/>
          </a:prstGeom>
        </p:spPr>
      </p:pic>
      <p:pic>
        <p:nvPicPr>
          <p:cNvPr id="23" name="Picture 22">
            <a:extLst>
              <a:ext uri="{FF2B5EF4-FFF2-40B4-BE49-F238E27FC236}">
                <a16:creationId xmlns:a16="http://schemas.microsoft.com/office/drawing/2014/main" id="{24253541-EDC4-494C-B94F-1F5D0967232A}"/>
              </a:ext>
            </a:extLst>
          </p:cNvPr>
          <p:cNvPicPr>
            <a:picLocks noChangeAspect="1"/>
          </p:cNvPicPr>
          <p:nvPr userDrawn="1"/>
        </p:nvPicPr>
        <p:blipFill>
          <a:blip r:embed="rId4"/>
          <a:stretch>
            <a:fillRect/>
          </a:stretch>
        </p:blipFill>
        <p:spPr>
          <a:xfrm>
            <a:off x="11085302" y="2121609"/>
            <a:ext cx="493197" cy="493197"/>
          </a:xfrm>
          <a:prstGeom prst="rect">
            <a:avLst/>
          </a:prstGeom>
        </p:spPr>
      </p:pic>
      <p:sp>
        <p:nvSpPr>
          <p:cNvPr id="5" name="Picture Placeholder 4">
            <a:extLst>
              <a:ext uri="{FF2B5EF4-FFF2-40B4-BE49-F238E27FC236}">
                <a16:creationId xmlns:a16="http://schemas.microsoft.com/office/drawing/2014/main" id="{C72CCCB6-7A8B-1742-BCC8-846B43EF780A}"/>
              </a:ext>
            </a:extLst>
          </p:cNvPr>
          <p:cNvSpPr>
            <a:spLocks noGrp="1"/>
          </p:cNvSpPr>
          <p:nvPr>
            <p:ph type="pic" sz="quarter" idx="11"/>
          </p:nvPr>
        </p:nvSpPr>
        <p:spPr>
          <a:xfrm>
            <a:off x="974552" y="2121609"/>
            <a:ext cx="4487309" cy="3440365"/>
          </a:xfrm>
          <a:solidFill>
            <a:schemeClr val="bg2">
              <a:lumMod val="75000"/>
            </a:schemeClr>
          </a:solidFill>
        </p:spPr>
        <p:txBody>
          <a:bodyPr/>
          <a:lstStyle/>
          <a:p>
            <a:endParaRPr lang="en-MX"/>
          </a:p>
        </p:txBody>
      </p:sp>
      <p:pic>
        <p:nvPicPr>
          <p:cNvPr id="7" name="Picture 6">
            <a:extLst>
              <a:ext uri="{FF2B5EF4-FFF2-40B4-BE49-F238E27FC236}">
                <a16:creationId xmlns:a16="http://schemas.microsoft.com/office/drawing/2014/main" id="{B421EC0D-A79B-4BCC-D0A6-6C45F300DCED}"/>
              </a:ext>
            </a:extLst>
          </p:cNvPr>
          <p:cNvPicPr>
            <a:picLocks noChangeAspect="1"/>
          </p:cNvPicPr>
          <p:nvPr userDrawn="1"/>
        </p:nvPicPr>
        <p:blipFill>
          <a:blip r:embed="rId5"/>
          <a:stretch>
            <a:fillRect/>
          </a:stretch>
        </p:blipFill>
        <p:spPr>
          <a:xfrm>
            <a:off x="10576824" y="2006114"/>
            <a:ext cx="349250" cy="349250"/>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0142F152-08B6-1403-85E5-A557D1103B58}"/>
              </a:ext>
            </a:extLst>
          </p:cNvPr>
          <p:cNvPicPr>
            <a:picLocks noChangeAspect="1"/>
          </p:cNvPicPr>
          <p:nvPr userDrawn="1"/>
        </p:nvPicPr>
        <p:blipFill>
          <a:blip r:embed="rId6"/>
          <a:stretch>
            <a:fillRect/>
          </a:stretch>
        </p:blipFill>
        <p:spPr>
          <a:xfrm>
            <a:off x="10133703" y="6325250"/>
            <a:ext cx="1738361" cy="194422"/>
          </a:xfrm>
          <a:prstGeom prst="rect">
            <a:avLst/>
          </a:prstGeom>
        </p:spPr>
      </p:pic>
      <p:sp>
        <p:nvSpPr>
          <p:cNvPr id="19" name="Text Placeholder 20">
            <a:extLst>
              <a:ext uri="{FF2B5EF4-FFF2-40B4-BE49-F238E27FC236}">
                <a16:creationId xmlns:a16="http://schemas.microsoft.com/office/drawing/2014/main" id="{72DD040F-BBF8-12C3-F8B1-759A29F4E63B}"/>
              </a:ext>
            </a:extLst>
          </p:cNvPr>
          <p:cNvSpPr>
            <a:spLocks noGrp="1"/>
          </p:cNvSpPr>
          <p:nvPr>
            <p:ph type="body" sz="quarter" idx="16" hasCustomPrompt="1"/>
          </p:nvPr>
        </p:nvSpPr>
        <p:spPr>
          <a:xfrm>
            <a:off x="5830891" y="2520887"/>
            <a:ext cx="5416229" cy="2637719"/>
          </a:xfrm>
          <a:prstGeom prst="roundRect">
            <a:avLst/>
          </a:prstGeom>
          <a:solidFill>
            <a:srgbClr val="BFEAF1"/>
          </a:solidFill>
        </p:spPr>
        <p:txBody>
          <a:bodyPr>
            <a:normAutofit/>
          </a:bodyPr>
          <a:lstStyle>
            <a:lvl1pPr marL="0" indent="0" algn="l">
              <a:buFont typeface="Arial" panose="020B0604020202020204" pitchFamily="34" charset="0"/>
              <a:buNone/>
              <a:defRPr sz="1800">
                <a:solidFill>
                  <a:schemeClr val="tx1"/>
                </a:solidFill>
              </a:defRPr>
            </a:lvl1pPr>
          </a:lstStyle>
          <a:p>
            <a:pPr lvl="0"/>
            <a:r>
              <a:rPr lang="en-US" dirty="0"/>
              <a:t>Add text</a:t>
            </a:r>
          </a:p>
        </p:txBody>
      </p:sp>
    </p:spTree>
    <p:extLst>
      <p:ext uri="{BB962C8B-B14F-4D97-AF65-F5344CB8AC3E}">
        <p14:creationId xmlns:p14="http://schemas.microsoft.com/office/powerpoint/2010/main" val="38477258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side_Screenshot Slide_8">
    <p:spTree>
      <p:nvGrpSpPr>
        <p:cNvPr id="1" name=""/>
        <p:cNvGrpSpPr/>
        <p:nvPr/>
      </p:nvGrpSpPr>
      <p:grpSpPr>
        <a:xfrm>
          <a:off x="0" y="0"/>
          <a:ext cx="0" cy="0"/>
          <a:chOff x="0" y="0"/>
          <a:chExt cx="0" cy="0"/>
        </a:xfrm>
      </p:grpSpPr>
      <p:pic>
        <p:nvPicPr>
          <p:cNvPr id="23" name="Picture 22" descr="Shape&#10;&#10;Description automatically generated">
            <a:extLst>
              <a:ext uri="{FF2B5EF4-FFF2-40B4-BE49-F238E27FC236}">
                <a16:creationId xmlns:a16="http://schemas.microsoft.com/office/drawing/2014/main" id="{F9FEF04F-149C-44A5-9621-00015CE7821A}"/>
              </a:ext>
            </a:extLst>
          </p:cNvPr>
          <p:cNvPicPr>
            <a:picLocks noChangeAspect="1"/>
          </p:cNvPicPr>
          <p:nvPr userDrawn="1"/>
        </p:nvPicPr>
        <p:blipFill>
          <a:blip r:embed="rId2"/>
          <a:stretch>
            <a:fillRect/>
          </a:stretch>
        </p:blipFill>
        <p:spPr>
          <a:xfrm>
            <a:off x="0" y="3602138"/>
            <a:ext cx="5739618" cy="3255861"/>
          </a:xfrm>
          <a:prstGeom prst="rect">
            <a:avLst/>
          </a:prstGeom>
        </p:spPr>
      </p:pic>
      <p:sp>
        <p:nvSpPr>
          <p:cNvPr id="3" name="Title 6">
            <a:extLst>
              <a:ext uri="{FF2B5EF4-FFF2-40B4-BE49-F238E27FC236}">
                <a16:creationId xmlns:a16="http://schemas.microsoft.com/office/drawing/2014/main" id="{9583E18D-E253-604A-BBA4-FCA1B4805463}"/>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r>
              <a:rPr lang="en-US" dirty="0"/>
              <a:t>Click to add title</a:t>
            </a:r>
          </a:p>
        </p:txBody>
      </p:sp>
      <p:sp>
        <p:nvSpPr>
          <p:cNvPr id="4" name="Text Placeholder 16">
            <a:extLst>
              <a:ext uri="{FF2B5EF4-FFF2-40B4-BE49-F238E27FC236}">
                <a16:creationId xmlns:a16="http://schemas.microsoft.com/office/drawing/2014/main" id="{827B0376-9B21-D349-91DA-B4930FE74DB7}"/>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20" name="Picture Placeholder 11">
            <a:extLst>
              <a:ext uri="{FF2B5EF4-FFF2-40B4-BE49-F238E27FC236}">
                <a16:creationId xmlns:a16="http://schemas.microsoft.com/office/drawing/2014/main" id="{42D823CC-A8BE-C6BC-CB7D-B88BC961F9B8}"/>
              </a:ext>
            </a:extLst>
          </p:cNvPr>
          <p:cNvSpPr>
            <a:spLocks noGrp="1"/>
          </p:cNvSpPr>
          <p:nvPr>
            <p:ph type="pic" sz="quarter" idx="23"/>
          </p:nvPr>
        </p:nvSpPr>
        <p:spPr>
          <a:xfrm>
            <a:off x="914400" y="1776224"/>
            <a:ext cx="4115560" cy="4117048"/>
          </a:xfrm>
          <a:prstGeom prst="ellipse">
            <a:avLst/>
          </a:prstGeom>
          <a:solidFill>
            <a:schemeClr val="bg2">
              <a:lumMod val="75000"/>
            </a:schemeClr>
          </a:solidFill>
        </p:spPr>
        <p:txBody>
          <a:bodyPr/>
          <a:lstStyle/>
          <a:p>
            <a:endParaRPr lang="en-MX"/>
          </a:p>
        </p:txBody>
      </p:sp>
      <p:pic>
        <p:nvPicPr>
          <p:cNvPr id="26" name="Picture 25">
            <a:extLst>
              <a:ext uri="{FF2B5EF4-FFF2-40B4-BE49-F238E27FC236}">
                <a16:creationId xmlns:a16="http://schemas.microsoft.com/office/drawing/2014/main" id="{4E113EF0-34DA-A107-19D6-5DDD45CC7DD6}"/>
              </a:ext>
            </a:extLst>
          </p:cNvPr>
          <p:cNvPicPr>
            <a:picLocks noChangeAspect="1"/>
          </p:cNvPicPr>
          <p:nvPr userDrawn="1"/>
        </p:nvPicPr>
        <p:blipFill>
          <a:blip r:embed="rId3"/>
          <a:stretch>
            <a:fillRect/>
          </a:stretch>
        </p:blipFill>
        <p:spPr>
          <a:xfrm>
            <a:off x="4729649" y="1999342"/>
            <a:ext cx="508000" cy="508000"/>
          </a:xfrm>
          <a:prstGeom prst="rect">
            <a:avLst/>
          </a:prstGeom>
        </p:spPr>
      </p:pic>
      <p:pic>
        <p:nvPicPr>
          <p:cNvPr id="27" name="Picture 26">
            <a:extLst>
              <a:ext uri="{FF2B5EF4-FFF2-40B4-BE49-F238E27FC236}">
                <a16:creationId xmlns:a16="http://schemas.microsoft.com/office/drawing/2014/main" id="{2F31EE28-C0FC-B289-136A-396F3C9D85F7}"/>
              </a:ext>
            </a:extLst>
          </p:cNvPr>
          <p:cNvPicPr>
            <a:picLocks noChangeAspect="1"/>
          </p:cNvPicPr>
          <p:nvPr userDrawn="1"/>
        </p:nvPicPr>
        <p:blipFill>
          <a:blip r:embed="rId4"/>
          <a:stretch>
            <a:fillRect/>
          </a:stretch>
        </p:blipFill>
        <p:spPr>
          <a:xfrm>
            <a:off x="706711" y="4850038"/>
            <a:ext cx="380030" cy="380030"/>
          </a:xfrm>
          <a:prstGeom prst="rect">
            <a:avLst/>
          </a:prstGeom>
        </p:spPr>
      </p:pic>
      <p:pic>
        <p:nvPicPr>
          <p:cNvPr id="28" name="Picture 27" descr="A picture containing text, clipart&#10;&#10;Description automatically generated">
            <a:extLst>
              <a:ext uri="{FF2B5EF4-FFF2-40B4-BE49-F238E27FC236}">
                <a16:creationId xmlns:a16="http://schemas.microsoft.com/office/drawing/2014/main" id="{A70642E7-EEB6-5D1D-2745-9835FA2E6DDE}"/>
              </a:ext>
            </a:extLst>
          </p:cNvPr>
          <p:cNvPicPr>
            <a:picLocks noChangeAspect="1"/>
          </p:cNvPicPr>
          <p:nvPr userDrawn="1"/>
        </p:nvPicPr>
        <p:blipFill>
          <a:blip r:embed="rId5"/>
          <a:stretch>
            <a:fillRect/>
          </a:stretch>
        </p:blipFill>
        <p:spPr>
          <a:xfrm>
            <a:off x="10133703" y="6325250"/>
            <a:ext cx="1738361" cy="194422"/>
          </a:xfrm>
          <a:prstGeom prst="rect">
            <a:avLst/>
          </a:prstGeom>
        </p:spPr>
      </p:pic>
      <p:sp>
        <p:nvSpPr>
          <p:cNvPr id="14" name="Text Placeholder 20">
            <a:extLst>
              <a:ext uri="{FF2B5EF4-FFF2-40B4-BE49-F238E27FC236}">
                <a16:creationId xmlns:a16="http://schemas.microsoft.com/office/drawing/2014/main" id="{35BFC347-2E00-EFD8-F74E-260D24729F7A}"/>
              </a:ext>
            </a:extLst>
          </p:cNvPr>
          <p:cNvSpPr>
            <a:spLocks noGrp="1"/>
          </p:cNvSpPr>
          <p:nvPr>
            <p:ph type="body" sz="quarter" idx="16" hasCustomPrompt="1"/>
          </p:nvPr>
        </p:nvSpPr>
        <p:spPr>
          <a:xfrm>
            <a:off x="5944360" y="2515888"/>
            <a:ext cx="7736646" cy="2637719"/>
          </a:xfrm>
          <a:prstGeom prst="roundRect">
            <a:avLst/>
          </a:prstGeom>
          <a:solidFill>
            <a:srgbClr val="CAEBCC"/>
          </a:solidFill>
        </p:spPr>
        <p:txBody>
          <a:bodyPr>
            <a:normAutofit/>
          </a:bodyPr>
          <a:lstStyle>
            <a:lvl1pPr marL="0" indent="0" algn="l">
              <a:buFont typeface="Arial" panose="020B0604020202020204" pitchFamily="34" charset="0"/>
              <a:buNone/>
              <a:defRPr sz="1800">
                <a:solidFill>
                  <a:schemeClr val="tx1"/>
                </a:solidFill>
              </a:defRPr>
            </a:lvl1pPr>
          </a:lstStyle>
          <a:p>
            <a:pPr lvl="0"/>
            <a:r>
              <a:rPr lang="en-US" dirty="0"/>
              <a:t>Add text</a:t>
            </a:r>
          </a:p>
        </p:txBody>
      </p:sp>
    </p:spTree>
    <p:extLst>
      <p:ext uri="{BB962C8B-B14F-4D97-AF65-F5344CB8AC3E}">
        <p14:creationId xmlns:p14="http://schemas.microsoft.com/office/powerpoint/2010/main" val="3814815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side_Screenshot Slide_9">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9" name="Text Placeholder 20">
            <a:extLst>
              <a:ext uri="{FF2B5EF4-FFF2-40B4-BE49-F238E27FC236}">
                <a16:creationId xmlns:a16="http://schemas.microsoft.com/office/drawing/2014/main" id="{3DD58379-5DB8-7C4F-88D3-025F2CD94BF8}"/>
              </a:ext>
            </a:extLst>
          </p:cNvPr>
          <p:cNvSpPr>
            <a:spLocks noGrp="1"/>
          </p:cNvSpPr>
          <p:nvPr>
            <p:ph type="body" sz="quarter" idx="13" hasCustomPrompt="1"/>
          </p:nvPr>
        </p:nvSpPr>
        <p:spPr>
          <a:xfrm>
            <a:off x="1240324" y="2825638"/>
            <a:ext cx="5090137" cy="458313"/>
          </a:xfrm>
        </p:spPr>
        <p:txBody>
          <a:bodyPr>
            <a:normAutofit/>
          </a:bodyPr>
          <a:lstStyle>
            <a:lvl1pPr>
              <a:buNone/>
              <a:defRPr sz="2500">
                <a:solidFill>
                  <a:srgbClr val="2DB035"/>
                </a:solidFill>
              </a:defRPr>
            </a:lvl1pPr>
          </a:lstStyle>
          <a:p>
            <a:pPr lvl="0"/>
            <a:r>
              <a:rPr lang="en-US" dirty="0"/>
              <a:t>Title</a:t>
            </a:r>
          </a:p>
        </p:txBody>
      </p:sp>
      <p:sp>
        <p:nvSpPr>
          <p:cNvPr id="11" name="Picture Placeholder 4">
            <a:extLst>
              <a:ext uri="{FF2B5EF4-FFF2-40B4-BE49-F238E27FC236}">
                <a16:creationId xmlns:a16="http://schemas.microsoft.com/office/drawing/2014/main" id="{E649C25F-8CC2-DB44-A56D-F4F2CD42DECA}"/>
              </a:ext>
            </a:extLst>
          </p:cNvPr>
          <p:cNvSpPr>
            <a:spLocks noGrp="1"/>
          </p:cNvSpPr>
          <p:nvPr>
            <p:ph type="pic" sz="quarter" idx="11"/>
          </p:nvPr>
        </p:nvSpPr>
        <p:spPr>
          <a:xfrm>
            <a:off x="6786288" y="2710788"/>
            <a:ext cx="4216595" cy="3232812"/>
          </a:xfrm>
          <a:solidFill>
            <a:schemeClr val="bg2">
              <a:lumMod val="75000"/>
            </a:schemeClr>
          </a:solidFill>
        </p:spPr>
        <p:txBody>
          <a:bodyPr/>
          <a:lstStyle/>
          <a:p>
            <a:endParaRPr lang="en-MX"/>
          </a:p>
        </p:txBody>
      </p:sp>
      <p:pic>
        <p:nvPicPr>
          <p:cNvPr id="12" name="Picture 11">
            <a:extLst>
              <a:ext uri="{FF2B5EF4-FFF2-40B4-BE49-F238E27FC236}">
                <a16:creationId xmlns:a16="http://schemas.microsoft.com/office/drawing/2014/main" id="{9251F282-DAF9-294C-BB91-54C8BB873D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99123" y="3661937"/>
            <a:ext cx="282537" cy="282537"/>
          </a:xfrm>
          <a:prstGeom prst="rect">
            <a:avLst/>
          </a:prstGeom>
        </p:spPr>
      </p:pic>
      <p:pic>
        <p:nvPicPr>
          <p:cNvPr id="13" name="Picture 12">
            <a:extLst>
              <a:ext uri="{FF2B5EF4-FFF2-40B4-BE49-F238E27FC236}">
                <a16:creationId xmlns:a16="http://schemas.microsoft.com/office/drawing/2014/main" id="{A0006652-F167-9040-B301-3BF92DD904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9651" y="6192318"/>
            <a:ext cx="294449" cy="294449"/>
          </a:xfrm>
          <a:prstGeom prst="rect">
            <a:avLst/>
          </a:prstGeom>
        </p:spPr>
      </p:pic>
      <p:pic>
        <p:nvPicPr>
          <p:cNvPr id="14" name="Picture 13">
            <a:extLst>
              <a:ext uri="{FF2B5EF4-FFF2-40B4-BE49-F238E27FC236}">
                <a16:creationId xmlns:a16="http://schemas.microsoft.com/office/drawing/2014/main" id="{772BDCDB-5D73-3E41-AD53-3C20B6D98CC6}"/>
              </a:ext>
            </a:extLst>
          </p:cNvPr>
          <p:cNvPicPr>
            <a:picLocks noChangeAspect="1"/>
          </p:cNvPicPr>
          <p:nvPr userDrawn="1"/>
        </p:nvPicPr>
        <p:blipFill>
          <a:blip r:embed="rId3"/>
          <a:stretch>
            <a:fillRect/>
          </a:stretch>
        </p:blipFill>
        <p:spPr>
          <a:xfrm>
            <a:off x="296288" y="5281985"/>
            <a:ext cx="508000" cy="508000"/>
          </a:xfrm>
          <a:prstGeom prst="rect">
            <a:avLst/>
          </a:prstGeom>
        </p:spPr>
      </p:pic>
      <p:pic>
        <p:nvPicPr>
          <p:cNvPr id="15" name="Picture 14">
            <a:extLst>
              <a:ext uri="{FF2B5EF4-FFF2-40B4-BE49-F238E27FC236}">
                <a16:creationId xmlns:a16="http://schemas.microsoft.com/office/drawing/2014/main" id="{9F9645A5-5819-134C-BE9B-B72912F4C3EA}"/>
              </a:ext>
            </a:extLst>
          </p:cNvPr>
          <p:cNvPicPr>
            <a:picLocks noChangeAspect="1"/>
          </p:cNvPicPr>
          <p:nvPr userDrawn="1"/>
        </p:nvPicPr>
        <p:blipFill>
          <a:blip r:embed="rId3"/>
          <a:stretch>
            <a:fillRect/>
          </a:stretch>
        </p:blipFill>
        <p:spPr>
          <a:xfrm>
            <a:off x="410340" y="3054795"/>
            <a:ext cx="294450" cy="294450"/>
          </a:xfrm>
          <a:prstGeom prst="rect">
            <a:avLst/>
          </a:prstGeom>
        </p:spPr>
      </p:pic>
      <p:pic>
        <p:nvPicPr>
          <p:cNvPr id="16" name="Picture 15">
            <a:extLst>
              <a:ext uri="{FF2B5EF4-FFF2-40B4-BE49-F238E27FC236}">
                <a16:creationId xmlns:a16="http://schemas.microsoft.com/office/drawing/2014/main" id="{8E8E7D38-760D-AA40-B436-9446481AAD6D}"/>
              </a:ext>
            </a:extLst>
          </p:cNvPr>
          <p:cNvPicPr>
            <a:picLocks noChangeAspect="1"/>
          </p:cNvPicPr>
          <p:nvPr userDrawn="1"/>
        </p:nvPicPr>
        <p:blipFill>
          <a:blip r:embed="rId4"/>
          <a:stretch>
            <a:fillRect/>
          </a:stretch>
        </p:blipFill>
        <p:spPr>
          <a:xfrm>
            <a:off x="11591645" y="2674765"/>
            <a:ext cx="380030" cy="380030"/>
          </a:xfrm>
          <a:prstGeom prst="rect">
            <a:avLst/>
          </a:prstGeom>
        </p:spPr>
      </p:pic>
      <p:sp>
        <p:nvSpPr>
          <p:cNvPr id="20" name="Text Placeholder 17">
            <a:extLst>
              <a:ext uri="{FF2B5EF4-FFF2-40B4-BE49-F238E27FC236}">
                <a16:creationId xmlns:a16="http://schemas.microsoft.com/office/drawing/2014/main" id="{F7393554-6C53-9744-BB55-A2E990C41A51}"/>
              </a:ext>
            </a:extLst>
          </p:cNvPr>
          <p:cNvSpPr>
            <a:spLocks noGrp="1"/>
          </p:cNvSpPr>
          <p:nvPr>
            <p:ph type="body" sz="quarter" idx="22" hasCustomPrompt="1"/>
          </p:nvPr>
        </p:nvSpPr>
        <p:spPr>
          <a:xfrm>
            <a:off x="1240324" y="3456791"/>
            <a:ext cx="5090137" cy="2466734"/>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8" name="Picture 17" descr="A picture containing text, clipart&#10;&#10;Description automatically generated">
            <a:extLst>
              <a:ext uri="{FF2B5EF4-FFF2-40B4-BE49-F238E27FC236}">
                <a16:creationId xmlns:a16="http://schemas.microsoft.com/office/drawing/2014/main" id="{4B36AC47-F083-9E8A-13E9-62E08BF5117C}"/>
              </a:ext>
            </a:extLst>
          </p:cNvPr>
          <p:cNvPicPr>
            <a:picLocks noChangeAspect="1"/>
          </p:cNvPicPr>
          <p:nvPr userDrawn="1"/>
        </p:nvPicPr>
        <p:blipFill>
          <a:blip r:embed="rId5"/>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2954114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side_Picture Slide_10">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4CB491FC-152D-9FC6-AA39-DDCE2C056A20}"/>
              </a:ext>
            </a:extLst>
          </p:cNvPr>
          <p:cNvPicPr>
            <a:picLocks noChangeAspect="1"/>
          </p:cNvPicPr>
          <p:nvPr userDrawn="1"/>
        </p:nvPicPr>
        <p:blipFill>
          <a:blip r:embed="rId2"/>
          <a:stretch>
            <a:fillRect/>
          </a:stretch>
        </p:blipFill>
        <p:spPr>
          <a:xfrm>
            <a:off x="-9667" y="3084936"/>
            <a:ext cx="6690686" cy="3795365"/>
          </a:xfrm>
          <a:prstGeom prst="rect">
            <a:avLst/>
          </a:prstGeom>
        </p:spPr>
      </p:pic>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4388" y="4713387"/>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5093" y="2250753"/>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3621" y="4481213"/>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4"/>
          <a:stretch>
            <a:fillRect/>
          </a:stretch>
        </p:blipFill>
        <p:spPr>
          <a:xfrm>
            <a:off x="713855" y="3248985"/>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4"/>
          <a:stretch>
            <a:fillRect/>
          </a:stretch>
        </p:blipFill>
        <p:spPr>
          <a:xfrm>
            <a:off x="11021657" y="2462723"/>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5"/>
          <a:stretch>
            <a:fillRect/>
          </a:stretch>
        </p:blipFill>
        <p:spPr>
          <a:xfrm>
            <a:off x="10733615" y="3462025"/>
            <a:ext cx="380030" cy="380030"/>
          </a:xfrm>
          <a:prstGeom prst="rect">
            <a:avLst/>
          </a:prstGeom>
        </p:spPr>
      </p:pic>
      <p:sp>
        <p:nvSpPr>
          <p:cNvPr id="24" name="Text Placeholder 20">
            <a:extLst>
              <a:ext uri="{FF2B5EF4-FFF2-40B4-BE49-F238E27FC236}">
                <a16:creationId xmlns:a16="http://schemas.microsoft.com/office/drawing/2014/main" id="{7D958D40-0F4F-7542-BE92-1BE55F1AAAC6}"/>
              </a:ext>
            </a:extLst>
          </p:cNvPr>
          <p:cNvSpPr>
            <a:spLocks noGrp="1"/>
          </p:cNvSpPr>
          <p:nvPr>
            <p:ph type="body" sz="quarter" idx="16" hasCustomPrompt="1"/>
          </p:nvPr>
        </p:nvSpPr>
        <p:spPr>
          <a:xfrm>
            <a:off x="1502286" y="2290116"/>
            <a:ext cx="8923862" cy="508000"/>
          </a:xfrm>
        </p:spPr>
        <p:txBody>
          <a:bodyPr/>
          <a:lstStyle>
            <a:lvl1pPr>
              <a:buNone/>
              <a:defRPr>
                <a:solidFill>
                  <a:srgbClr val="2DB035"/>
                </a:solidFill>
              </a:defRPr>
            </a:lvl1pPr>
          </a:lstStyle>
          <a:p>
            <a:pPr lvl="0"/>
            <a:r>
              <a:rPr lang="en-US" dirty="0"/>
              <a:t>Title</a:t>
            </a:r>
          </a:p>
        </p:txBody>
      </p:sp>
      <p:sp>
        <p:nvSpPr>
          <p:cNvPr id="3" name="Picture Placeholder 2">
            <a:extLst>
              <a:ext uri="{FF2B5EF4-FFF2-40B4-BE49-F238E27FC236}">
                <a16:creationId xmlns:a16="http://schemas.microsoft.com/office/drawing/2014/main" id="{01DB6509-269A-C64D-9AFB-5FFD0C152EAA}"/>
              </a:ext>
            </a:extLst>
          </p:cNvPr>
          <p:cNvSpPr>
            <a:spLocks noGrp="1"/>
          </p:cNvSpPr>
          <p:nvPr>
            <p:ph type="pic" sz="quarter" idx="17"/>
          </p:nvPr>
        </p:nvSpPr>
        <p:spPr>
          <a:xfrm>
            <a:off x="1502286" y="3107469"/>
            <a:ext cx="2594489" cy="2594490"/>
          </a:xfrm>
          <a:prstGeom prst="roundRect">
            <a:avLst/>
          </a:prstGeom>
          <a:solidFill>
            <a:schemeClr val="bg2">
              <a:lumMod val="75000"/>
            </a:schemeClr>
          </a:solidFill>
        </p:spPr>
        <p:txBody>
          <a:bodyPr/>
          <a:lstStyle/>
          <a:p>
            <a:endParaRPr lang="en-MX"/>
          </a:p>
        </p:txBody>
      </p:sp>
      <p:sp>
        <p:nvSpPr>
          <p:cNvPr id="16" name="Picture Placeholder 2">
            <a:extLst>
              <a:ext uri="{FF2B5EF4-FFF2-40B4-BE49-F238E27FC236}">
                <a16:creationId xmlns:a16="http://schemas.microsoft.com/office/drawing/2014/main" id="{3D5A1D94-5D6C-0C49-8251-561DD21D6751}"/>
              </a:ext>
            </a:extLst>
          </p:cNvPr>
          <p:cNvSpPr>
            <a:spLocks noGrp="1"/>
          </p:cNvSpPr>
          <p:nvPr>
            <p:ph type="pic" sz="quarter" idx="18"/>
          </p:nvPr>
        </p:nvSpPr>
        <p:spPr>
          <a:xfrm>
            <a:off x="4626877" y="3107469"/>
            <a:ext cx="2594489" cy="2594490"/>
          </a:xfrm>
          <a:prstGeom prst="roundRect">
            <a:avLst/>
          </a:prstGeom>
          <a:solidFill>
            <a:schemeClr val="bg2">
              <a:lumMod val="75000"/>
            </a:schemeClr>
          </a:solidFill>
        </p:spPr>
        <p:txBody>
          <a:bodyPr/>
          <a:lstStyle/>
          <a:p>
            <a:endParaRPr lang="en-MX"/>
          </a:p>
        </p:txBody>
      </p:sp>
      <p:sp>
        <p:nvSpPr>
          <p:cNvPr id="18" name="Picture Placeholder 2">
            <a:extLst>
              <a:ext uri="{FF2B5EF4-FFF2-40B4-BE49-F238E27FC236}">
                <a16:creationId xmlns:a16="http://schemas.microsoft.com/office/drawing/2014/main" id="{6FE3EEE3-CDF1-5344-A174-2033297C5642}"/>
              </a:ext>
            </a:extLst>
          </p:cNvPr>
          <p:cNvSpPr>
            <a:spLocks noGrp="1"/>
          </p:cNvSpPr>
          <p:nvPr>
            <p:ph type="pic" sz="quarter" idx="19"/>
          </p:nvPr>
        </p:nvSpPr>
        <p:spPr>
          <a:xfrm>
            <a:off x="7751468" y="3107469"/>
            <a:ext cx="2594489" cy="2594490"/>
          </a:xfrm>
          <a:prstGeom prst="roundRect">
            <a:avLst/>
          </a:prstGeom>
          <a:solidFill>
            <a:schemeClr val="bg2">
              <a:lumMod val="75000"/>
            </a:schemeClr>
          </a:solidFill>
        </p:spPr>
        <p:txBody>
          <a:bodyPr/>
          <a:lstStyle/>
          <a:p>
            <a:endParaRPr lang="en-MX"/>
          </a:p>
        </p:txBody>
      </p:sp>
      <p:pic>
        <p:nvPicPr>
          <p:cNvPr id="14" name="Picture 13" descr="A picture containing text, clipart&#10;&#10;Description automatically generated">
            <a:extLst>
              <a:ext uri="{FF2B5EF4-FFF2-40B4-BE49-F238E27FC236}">
                <a16:creationId xmlns:a16="http://schemas.microsoft.com/office/drawing/2014/main" id="{3F06EB6E-1058-D733-3863-8D9F49BCE465}"/>
              </a:ext>
            </a:extLst>
          </p:cNvPr>
          <p:cNvPicPr>
            <a:picLocks noChangeAspect="1"/>
          </p:cNvPicPr>
          <p:nvPr userDrawn="1"/>
        </p:nvPicPr>
        <p:blipFill>
          <a:blip r:embed="rId6"/>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1596204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A00A4C-B23E-574E-854B-DFDC4EAD647D}"/>
              </a:ext>
            </a:extLst>
          </p:cNvPr>
          <p:cNvSpPr>
            <a:spLocks noGrp="1"/>
          </p:cNvSpPr>
          <p:nvPr>
            <p:ph type="pic" sz="quarter" idx="11"/>
          </p:nvPr>
        </p:nvSpPr>
        <p:spPr>
          <a:xfrm>
            <a:off x="-128778" y="2170022"/>
            <a:ext cx="12468216" cy="4949235"/>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185"/>
              <a:gd name="connsiteY0" fmla="*/ 3220 h 10000"/>
              <a:gd name="connsiteX1" fmla="*/ 2685 w 10185"/>
              <a:gd name="connsiteY1" fmla="*/ 2000 h 10000"/>
              <a:gd name="connsiteX2" fmla="*/ 5185 w 10185"/>
              <a:gd name="connsiteY2" fmla="*/ 1000 h 10000"/>
              <a:gd name="connsiteX3" fmla="*/ 7685 w 10185"/>
              <a:gd name="connsiteY3" fmla="*/ 0 h 10000"/>
              <a:gd name="connsiteX4" fmla="*/ 10185 w 10185"/>
              <a:gd name="connsiteY4" fmla="*/ 1000 h 10000"/>
              <a:gd name="connsiteX5" fmla="*/ 10185 w 10185"/>
              <a:gd name="connsiteY5" fmla="*/ 9000 h 10000"/>
              <a:gd name="connsiteX6" fmla="*/ 7685 w 10185"/>
              <a:gd name="connsiteY6" fmla="*/ 8000 h 10000"/>
              <a:gd name="connsiteX7" fmla="*/ 5185 w 10185"/>
              <a:gd name="connsiteY7" fmla="*/ 9000 h 10000"/>
              <a:gd name="connsiteX8" fmla="*/ 2685 w 10185"/>
              <a:gd name="connsiteY8" fmla="*/ 10000 h 10000"/>
              <a:gd name="connsiteX9" fmla="*/ 185 w 10185"/>
              <a:gd name="connsiteY9" fmla="*/ 9000 h 10000"/>
              <a:gd name="connsiteX10" fmla="*/ 0 w 10185"/>
              <a:gd name="connsiteY10" fmla="*/ 3220 h 10000"/>
              <a:gd name="connsiteX0" fmla="*/ 0 w 10185"/>
              <a:gd name="connsiteY0" fmla="*/ 3220 h 10000"/>
              <a:gd name="connsiteX1" fmla="*/ 2685 w 10185"/>
              <a:gd name="connsiteY1" fmla="*/ 2000 h 10000"/>
              <a:gd name="connsiteX2" fmla="*/ 5185 w 10185"/>
              <a:gd name="connsiteY2" fmla="*/ 1000 h 10000"/>
              <a:gd name="connsiteX3" fmla="*/ 7685 w 10185"/>
              <a:gd name="connsiteY3" fmla="*/ 0 h 10000"/>
              <a:gd name="connsiteX4" fmla="*/ 10185 w 10185"/>
              <a:gd name="connsiteY4" fmla="*/ 1000 h 10000"/>
              <a:gd name="connsiteX5" fmla="*/ 10185 w 10185"/>
              <a:gd name="connsiteY5" fmla="*/ 9000 h 10000"/>
              <a:gd name="connsiteX6" fmla="*/ 7685 w 10185"/>
              <a:gd name="connsiteY6" fmla="*/ 8000 h 10000"/>
              <a:gd name="connsiteX7" fmla="*/ 5185 w 10185"/>
              <a:gd name="connsiteY7" fmla="*/ 9000 h 10000"/>
              <a:gd name="connsiteX8" fmla="*/ 2685 w 10185"/>
              <a:gd name="connsiteY8" fmla="*/ 10000 h 10000"/>
              <a:gd name="connsiteX9" fmla="*/ 185 w 10185"/>
              <a:gd name="connsiteY9" fmla="*/ 9000 h 10000"/>
              <a:gd name="connsiteX10" fmla="*/ 0 w 10185"/>
              <a:gd name="connsiteY10" fmla="*/ 3220 h 10000"/>
              <a:gd name="connsiteX0" fmla="*/ 0 w 10023"/>
              <a:gd name="connsiteY0" fmla="*/ 3238 h 10000"/>
              <a:gd name="connsiteX1" fmla="*/ 2523 w 10023"/>
              <a:gd name="connsiteY1" fmla="*/ 2000 h 10000"/>
              <a:gd name="connsiteX2" fmla="*/ 5023 w 10023"/>
              <a:gd name="connsiteY2" fmla="*/ 1000 h 10000"/>
              <a:gd name="connsiteX3" fmla="*/ 7523 w 10023"/>
              <a:gd name="connsiteY3" fmla="*/ 0 h 10000"/>
              <a:gd name="connsiteX4" fmla="*/ 10023 w 10023"/>
              <a:gd name="connsiteY4" fmla="*/ 1000 h 10000"/>
              <a:gd name="connsiteX5" fmla="*/ 10023 w 10023"/>
              <a:gd name="connsiteY5" fmla="*/ 9000 h 10000"/>
              <a:gd name="connsiteX6" fmla="*/ 7523 w 10023"/>
              <a:gd name="connsiteY6" fmla="*/ 8000 h 10000"/>
              <a:gd name="connsiteX7" fmla="*/ 5023 w 10023"/>
              <a:gd name="connsiteY7" fmla="*/ 9000 h 10000"/>
              <a:gd name="connsiteX8" fmla="*/ 2523 w 10023"/>
              <a:gd name="connsiteY8" fmla="*/ 10000 h 10000"/>
              <a:gd name="connsiteX9" fmla="*/ 23 w 10023"/>
              <a:gd name="connsiteY9" fmla="*/ 9000 h 10000"/>
              <a:gd name="connsiteX10" fmla="*/ 0 w 10023"/>
              <a:gd name="connsiteY10" fmla="*/ 3238 h 10000"/>
              <a:gd name="connsiteX0" fmla="*/ 0 w 10023"/>
              <a:gd name="connsiteY0" fmla="*/ 3238 h 10051"/>
              <a:gd name="connsiteX1" fmla="*/ 2523 w 10023"/>
              <a:gd name="connsiteY1" fmla="*/ 2000 h 10051"/>
              <a:gd name="connsiteX2" fmla="*/ 5023 w 10023"/>
              <a:gd name="connsiteY2" fmla="*/ 1000 h 10051"/>
              <a:gd name="connsiteX3" fmla="*/ 7523 w 10023"/>
              <a:gd name="connsiteY3" fmla="*/ 0 h 10051"/>
              <a:gd name="connsiteX4" fmla="*/ 10023 w 10023"/>
              <a:gd name="connsiteY4" fmla="*/ 1000 h 10051"/>
              <a:gd name="connsiteX5" fmla="*/ 10023 w 10023"/>
              <a:gd name="connsiteY5" fmla="*/ 9000 h 10051"/>
              <a:gd name="connsiteX6" fmla="*/ 7523 w 10023"/>
              <a:gd name="connsiteY6" fmla="*/ 8000 h 10051"/>
              <a:gd name="connsiteX7" fmla="*/ 5023 w 10023"/>
              <a:gd name="connsiteY7" fmla="*/ 9000 h 10051"/>
              <a:gd name="connsiteX8" fmla="*/ 2523 w 10023"/>
              <a:gd name="connsiteY8" fmla="*/ 10000 h 10051"/>
              <a:gd name="connsiteX9" fmla="*/ 0 w 10023"/>
              <a:gd name="connsiteY9" fmla="*/ 9687 h 10051"/>
              <a:gd name="connsiteX10" fmla="*/ 0 w 10023"/>
              <a:gd name="connsiteY10" fmla="*/ 3238 h 10051"/>
              <a:gd name="connsiteX0" fmla="*/ 0 w 10023"/>
              <a:gd name="connsiteY0" fmla="*/ 3238 h 10051"/>
              <a:gd name="connsiteX1" fmla="*/ 2508 w 10023"/>
              <a:gd name="connsiteY1" fmla="*/ 1912 h 10051"/>
              <a:gd name="connsiteX2" fmla="*/ 5023 w 10023"/>
              <a:gd name="connsiteY2" fmla="*/ 1000 h 10051"/>
              <a:gd name="connsiteX3" fmla="*/ 7523 w 10023"/>
              <a:gd name="connsiteY3" fmla="*/ 0 h 10051"/>
              <a:gd name="connsiteX4" fmla="*/ 10023 w 10023"/>
              <a:gd name="connsiteY4" fmla="*/ 1000 h 10051"/>
              <a:gd name="connsiteX5" fmla="*/ 10023 w 10023"/>
              <a:gd name="connsiteY5" fmla="*/ 9000 h 10051"/>
              <a:gd name="connsiteX6" fmla="*/ 7523 w 10023"/>
              <a:gd name="connsiteY6" fmla="*/ 8000 h 10051"/>
              <a:gd name="connsiteX7" fmla="*/ 5023 w 10023"/>
              <a:gd name="connsiteY7" fmla="*/ 9000 h 10051"/>
              <a:gd name="connsiteX8" fmla="*/ 2523 w 10023"/>
              <a:gd name="connsiteY8" fmla="*/ 10000 h 10051"/>
              <a:gd name="connsiteX9" fmla="*/ 0 w 10023"/>
              <a:gd name="connsiteY9" fmla="*/ 9687 h 10051"/>
              <a:gd name="connsiteX10" fmla="*/ 0 w 10023"/>
              <a:gd name="connsiteY10" fmla="*/ 3238 h 10051"/>
              <a:gd name="connsiteX0" fmla="*/ 0 w 10023"/>
              <a:gd name="connsiteY0" fmla="*/ 3386 h 10199"/>
              <a:gd name="connsiteX1" fmla="*/ 2508 w 10023"/>
              <a:gd name="connsiteY1" fmla="*/ 2060 h 10199"/>
              <a:gd name="connsiteX2" fmla="*/ 6273 w 10023"/>
              <a:gd name="connsiteY2" fmla="*/ 4266 h 10199"/>
              <a:gd name="connsiteX3" fmla="*/ 7523 w 10023"/>
              <a:gd name="connsiteY3" fmla="*/ 148 h 10199"/>
              <a:gd name="connsiteX4" fmla="*/ 10023 w 10023"/>
              <a:gd name="connsiteY4" fmla="*/ 1148 h 10199"/>
              <a:gd name="connsiteX5" fmla="*/ 10023 w 10023"/>
              <a:gd name="connsiteY5" fmla="*/ 9148 h 10199"/>
              <a:gd name="connsiteX6" fmla="*/ 7523 w 10023"/>
              <a:gd name="connsiteY6" fmla="*/ 8148 h 10199"/>
              <a:gd name="connsiteX7" fmla="*/ 5023 w 10023"/>
              <a:gd name="connsiteY7" fmla="*/ 9148 h 10199"/>
              <a:gd name="connsiteX8" fmla="*/ 2523 w 10023"/>
              <a:gd name="connsiteY8" fmla="*/ 10148 h 10199"/>
              <a:gd name="connsiteX9" fmla="*/ 0 w 10023"/>
              <a:gd name="connsiteY9" fmla="*/ 9835 h 10199"/>
              <a:gd name="connsiteX10" fmla="*/ 0 w 10023"/>
              <a:gd name="connsiteY10" fmla="*/ 3386 h 10199"/>
              <a:gd name="connsiteX0" fmla="*/ 0 w 10023"/>
              <a:gd name="connsiteY0" fmla="*/ 2304 h 9117"/>
              <a:gd name="connsiteX1" fmla="*/ 2508 w 10023"/>
              <a:gd name="connsiteY1" fmla="*/ 978 h 9117"/>
              <a:gd name="connsiteX2" fmla="*/ 6273 w 10023"/>
              <a:gd name="connsiteY2" fmla="*/ 3184 h 9117"/>
              <a:gd name="connsiteX3" fmla="*/ 9305 w 10023"/>
              <a:gd name="connsiteY3" fmla="*/ 3118 h 9117"/>
              <a:gd name="connsiteX4" fmla="*/ 10023 w 10023"/>
              <a:gd name="connsiteY4" fmla="*/ 66 h 9117"/>
              <a:gd name="connsiteX5" fmla="*/ 10023 w 10023"/>
              <a:gd name="connsiteY5" fmla="*/ 8066 h 9117"/>
              <a:gd name="connsiteX6" fmla="*/ 7523 w 10023"/>
              <a:gd name="connsiteY6" fmla="*/ 7066 h 9117"/>
              <a:gd name="connsiteX7" fmla="*/ 5023 w 10023"/>
              <a:gd name="connsiteY7" fmla="*/ 8066 h 9117"/>
              <a:gd name="connsiteX8" fmla="*/ 2523 w 10023"/>
              <a:gd name="connsiteY8" fmla="*/ 9066 h 9117"/>
              <a:gd name="connsiteX9" fmla="*/ 0 w 10023"/>
              <a:gd name="connsiteY9" fmla="*/ 8753 h 9117"/>
              <a:gd name="connsiteX10" fmla="*/ 0 w 10023"/>
              <a:gd name="connsiteY10" fmla="*/ 2304 h 9117"/>
              <a:gd name="connsiteX0" fmla="*/ 0 w 10054"/>
              <a:gd name="connsiteY0" fmla="*/ 1480 h 8953"/>
              <a:gd name="connsiteX1" fmla="*/ 2502 w 10054"/>
              <a:gd name="connsiteY1" fmla="*/ 26 h 8953"/>
              <a:gd name="connsiteX2" fmla="*/ 6259 w 10054"/>
              <a:gd name="connsiteY2" fmla="*/ 2445 h 8953"/>
              <a:gd name="connsiteX3" fmla="*/ 9284 w 10054"/>
              <a:gd name="connsiteY3" fmla="*/ 2373 h 8953"/>
              <a:gd name="connsiteX4" fmla="*/ 10054 w 10054"/>
              <a:gd name="connsiteY4" fmla="*/ 1788 h 8953"/>
              <a:gd name="connsiteX5" fmla="*/ 10000 w 10054"/>
              <a:gd name="connsiteY5" fmla="*/ 7800 h 8953"/>
              <a:gd name="connsiteX6" fmla="*/ 7506 w 10054"/>
              <a:gd name="connsiteY6" fmla="*/ 6703 h 8953"/>
              <a:gd name="connsiteX7" fmla="*/ 5011 w 10054"/>
              <a:gd name="connsiteY7" fmla="*/ 7800 h 8953"/>
              <a:gd name="connsiteX8" fmla="*/ 2517 w 10054"/>
              <a:gd name="connsiteY8" fmla="*/ 8897 h 8953"/>
              <a:gd name="connsiteX9" fmla="*/ 0 w 10054"/>
              <a:gd name="connsiteY9" fmla="*/ 8554 h 8953"/>
              <a:gd name="connsiteX10" fmla="*/ 0 w 10054"/>
              <a:gd name="connsiteY10" fmla="*/ 1480 h 8953"/>
              <a:gd name="connsiteX0" fmla="*/ 0 w 10000"/>
              <a:gd name="connsiteY0" fmla="*/ 1653 h 10000"/>
              <a:gd name="connsiteX1" fmla="*/ 2489 w 10000"/>
              <a:gd name="connsiteY1" fmla="*/ 29 h 10000"/>
              <a:gd name="connsiteX2" fmla="*/ 6225 w 10000"/>
              <a:gd name="connsiteY2" fmla="*/ 2731 h 10000"/>
              <a:gd name="connsiteX3" fmla="*/ 9234 w 10000"/>
              <a:gd name="connsiteY3" fmla="*/ 2651 h 10000"/>
              <a:gd name="connsiteX4" fmla="*/ 10000 w 10000"/>
              <a:gd name="connsiteY4" fmla="*/ 1997 h 10000"/>
              <a:gd name="connsiteX5" fmla="*/ 9946 w 10000"/>
              <a:gd name="connsiteY5" fmla="*/ 9813 h 10000"/>
              <a:gd name="connsiteX6" fmla="*/ 7466 w 10000"/>
              <a:gd name="connsiteY6" fmla="*/ 7487 h 10000"/>
              <a:gd name="connsiteX7" fmla="*/ 4984 w 10000"/>
              <a:gd name="connsiteY7" fmla="*/ 8712 h 10000"/>
              <a:gd name="connsiteX8" fmla="*/ 2503 w 10000"/>
              <a:gd name="connsiteY8" fmla="*/ 9937 h 10000"/>
              <a:gd name="connsiteX9" fmla="*/ 0 w 10000"/>
              <a:gd name="connsiteY9" fmla="*/ 9554 h 10000"/>
              <a:gd name="connsiteX10" fmla="*/ 0 w 10000"/>
              <a:gd name="connsiteY10" fmla="*/ 1653 h 10000"/>
              <a:gd name="connsiteX0" fmla="*/ 0 w 10000"/>
              <a:gd name="connsiteY0" fmla="*/ 1653 h 10182"/>
              <a:gd name="connsiteX1" fmla="*/ 2489 w 10000"/>
              <a:gd name="connsiteY1" fmla="*/ 29 h 10182"/>
              <a:gd name="connsiteX2" fmla="*/ 6225 w 10000"/>
              <a:gd name="connsiteY2" fmla="*/ 2731 h 10182"/>
              <a:gd name="connsiteX3" fmla="*/ 9234 w 10000"/>
              <a:gd name="connsiteY3" fmla="*/ 2651 h 10182"/>
              <a:gd name="connsiteX4" fmla="*/ 10000 w 10000"/>
              <a:gd name="connsiteY4" fmla="*/ 1997 h 10182"/>
              <a:gd name="connsiteX5" fmla="*/ 9946 w 10000"/>
              <a:gd name="connsiteY5" fmla="*/ 9813 h 10182"/>
              <a:gd name="connsiteX6" fmla="*/ 7474 w 10000"/>
              <a:gd name="connsiteY6" fmla="*/ 10163 h 10182"/>
              <a:gd name="connsiteX7" fmla="*/ 4984 w 10000"/>
              <a:gd name="connsiteY7" fmla="*/ 8712 h 10182"/>
              <a:gd name="connsiteX8" fmla="*/ 2503 w 10000"/>
              <a:gd name="connsiteY8" fmla="*/ 9937 h 10182"/>
              <a:gd name="connsiteX9" fmla="*/ 0 w 10000"/>
              <a:gd name="connsiteY9" fmla="*/ 9554 h 10182"/>
              <a:gd name="connsiteX10" fmla="*/ 0 w 10000"/>
              <a:gd name="connsiteY10" fmla="*/ 1653 h 10182"/>
              <a:gd name="connsiteX0" fmla="*/ 0 w 10000"/>
              <a:gd name="connsiteY0" fmla="*/ 1653 h 10164"/>
              <a:gd name="connsiteX1" fmla="*/ 2489 w 10000"/>
              <a:gd name="connsiteY1" fmla="*/ 29 h 10164"/>
              <a:gd name="connsiteX2" fmla="*/ 6225 w 10000"/>
              <a:gd name="connsiteY2" fmla="*/ 2731 h 10164"/>
              <a:gd name="connsiteX3" fmla="*/ 9234 w 10000"/>
              <a:gd name="connsiteY3" fmla="*/ 2651 h 10164"/>
              <a:gd name="connsiteX4" fmla="*/ 10000 w 10000"/>
              <a:gd name="connsiteY4" fmla="*/ 1997 h 10164"/>
              <a:gd name="connsiteX5" fmla="*/ 9946 w 10000"/>
              <a:gd name="connsiteY5" fmla="*/ 9813 h 10164"/>
              <a:gd name="connsiteX6" fmla="*/ 7474 w 10000"/>
              <a:gd name="connsiteY6" fmla="*/ 10163 h 10164"/>
              <a:gd name="connsiteX7" fmla="*/ 4999 w 10000"/>
              <a:gd name="connsiteY7" fmla="*/ 9942 h 10164"/>
              <a:gd name="connsiteX8" fmla="*/ 2503 w 10000"/>
              <a:gd name="connsiteY8" fmla="*/ 9937 h 10164"/>
              <a:gd name="connsiteX9" fmla="*/ 0 w 10000"/>
              <a:gd name="connsiteY9" fmla="*/ 9554 h 10164"/>
              <a:gd name="connsiteX10" fmla="*/ 0 w 10000"/>
              <a:gd name="connsiteY10" fmla="*/ 1653 h 10164"/>
              <a:gd name="connsiteX0" fmla="*/ 0 w 10000"/>
              <a:gd name="connsiteY0" fmla="*/ 1653 h 10164"/>
              <a:gd name="connsiteX1" fmla="*/ 2489 w 10000"/>
              <a:gd name="connsiteY1" fmla="*/ 29 h 10164"/>
              <a:gd name="connsiteX2" fmla="*/ 6225 w 10000"/>
              <a:gd name="connsiteY2" fmla="*/ 2731 h 10164"/>
              <a:gd name="connsiteX3" fmla="*/ 9234 w 10000"/>
              <a:gd name="connsiteY3" fmla="*/ 2651 h 10164"/>
              <a:gd name="connsiteX4" fmla="*/ 10000 w 10000"/>
              <a:gd name="connsiteY4" fmla="*/ 1997 h 10164"/>
              <a:gd name="connsiteX5" fmla="*/ 9946 w 10000"/>
              <a:gd name="connsiteY5" fmla="*/ 9813 h 10164"/>
              <a:gd name="connsiteX6" fmla="*/ 7474 w 10000"/>
              <a:gd name="connsiteY6" fmla="*/ 10163 h 10164"/>
              <a:gd name="connsiteX7" fmla="*/ 4999 w 10000"/>
              <a:gd name="connsiteY7" fmla="*/ 9942 h 10164"/>
              <a:gd name="connsiteX8" fmla="*/ 2503 w 10000"/>
              <a:gd name="connsiteY8" fmla="*/ 9937 h 10164"/>
              <a:gd name="connsiteX9" fmla="*/ 0 w 10000"/>
              <a:gd name="connsiteY9" fmla="*/ 9554 h 10164"/>
              <a:gd name="connsiteX10" fmla="*/ 0 w 10000"/>
              <a:gd name="connsiteY10" fmla="*/ 1653 h 10164"/>
              <a:gd name="connsiteX0" fmla="*/ 0 w 10000"/>
              <a:gd name="connsiteY0" fmla="*/ 1285 h 9796"/>
              <a:gd name="connsiteX1" fmla="*/ 2474 w 10000"/>
              <a:gd name="connsiteY1" fmla="*/ 49 h 9796"/>
              <a:gd name="connsiteX2" fmla="*/ 6225 w 10000"/>
              <a:gd name="connsiteY2" fmla="*/ 2363 h 9796"/>
              <a:gd name="connsiteX3" fmla="*/ 9234 w 10000"/>
              <a:gd name="connsiteY3" fmla="*/ 2283 h 9796"/>
              <a:gd name="connsiteX4" fmla="*/ 10000 w 10000"/>
              <a:gd name="connsiteY4" fmla="*/ 1629 h 9796"/>
              <a:gd name="connsiteX5" fmla="*/ 9946 w 10000"/>
              <a:gd name="connsiteY5" fmla="*/ 9445 h 9796"/>
              <a:gd name="connsiteX6" fmla="*/ 7474 w 10000"/>
              <a:gd name="connsiteY6" fmla="*/ 9795 h 9796"/>
              <a:gd name="connsiteX7" fmla="*/ 4999 w 10000"/>
              <a:gd name="connsiteY7" fmla="*/ 9574 h 9796"/>
              <a:gd name="connsiteX8" fmla="*/ 2503 w 10000"/>
              <a:gd name="connsiteY8" fmla="*/ 9569 h 9796"/>
              <a:gd name="connsiteX9" fmla="*/ 0 w 10000"/>
              <a:gd name="connsiteY9" fmla="*/ 9186 h 9796"/>
              <a:gd name="connsiteX10" fmla="*/ 0 w 10000"/>
              <a:gd name="connsiteY10" fmla="*/ 1285 h 9796"/>
              <a:gd name="connsiteX0" fmla="*/ 0 w 10000"/>
              <a:gd name="connsiteY0" fmla="*/ 1334 h 10022"/>
              <a:gd name="connsiteX1" fmla="*/ 2474 w 10000"/>
              <a:gd name="connsiteY1" fmla="*/ 72 h 10022"/>
              <a:gd name="connsiteX2" fmla="*/ 7052 w 10000"/>
              <a:gd name="connsiteY2" fmla="*/ 2809 h 10022"/>
              <a:gd name="connsiteX3" fmla="*/ 9234 w 10000"/>
              <a:gd name="connsiteY3" fmla="*/ 2353 h 10022"/>
              <a:gd name="connsiteX4" fmla="*/ 10000 w 10000"/>
              <a:gd name="connsiteY4" fmla="*/ 1685 h 10022"/>
              <a:gd name="connsiteX5" fmla="*/ 9946 w 10000"/>
              <a:gd name="connsiteY5" fmla="*/ 9664 h 10022"/>
              <a:gd name="connsiteX6" fmla="*/ 7474 w 10000"/>
              <a:gd name="connsiteY6" fmla="*/ 10021 h 10022"/>
              <a:gd name="connsiteX7" fmla="*/ 4999 w 10000"/>
              <a:gd name="connsiteY7" fmla="*/ 9795 h 10022"/>
              <a:gd name="connsiteX8" fmla="*/ 2503 w 10000"/>
              <a:gd name="connsiteY8" fmla="*/ 9790 h 10022"/>
              <a:gd name="connsiteX9" fmla="*/ 0 w 10000"/>
              <a:gd name="connsiteY9" fmla="*/ 9399 h 10022"/>
              <a:gd name="connsiteX10" fmla="*/ 0 w 10000"/>
              <a:gd name="connsiteY10" fmla="*/ 1334 h 10022"/>
              <a:gd name="connsiteX0" fmla="*/ 0 w 10000"/>
              <a:gd name="connsiteY0" fmla="*/ 1334 h 10022"/>
              <a:gd name="connsiteX1" fmla="*/ 2474 w 10000"/>
              <a:gd name="connsiteY1" fmla="*/ 72 h 10022"/>
              <a:gd name="connsiteX2" fmla="*/ 7052 w 10000"/>
              <a:gd name="connsiteY2" fmla="*/ 2809 h 10022"/>
              <a:gd name="connsiteX3" fmla="*/ 9234 w 10000"/>
              <a:gd name="connsiteY3" fmla="*/ 2353 h 10022"/>
              <a:gd name="connsiteX4" fmla="*/ 10000 w 10000"/>
              <a:gd name="connsiteY4" fmla="*/ 1685 h 10022"/>
              <a:gd name="connsiteX5" fmla="*/ 9946 w 10000"/>
              <a:gd name="connsiteY5" fmla="*/ 9664 h 10022"/>
              <a:gd name="connsiteX6" fmla="*/ 7474 w 10000"/>
              <a:gd name="connsiteY6" fmla="*/ 10021 h 10022"/>
              <a:gd name="connsiteX7" fmla="*/ 4999 w 10000"/>
              <a:gd name="connsiteY7" fmla="*/ 9795 h 10022"/>
              <a:gd name="connsiteX8" fmla="*/ 2503 w 10000"/>
              <a:gd name="connsiteY8" fmla="*/ 9790 h 10022"/>
              <a:gd name="connsiteX9" fmla="*/ 0 w 10000"/>
              <a:gd name="connsiteY9" fmla="*/ 9399 h 10022"/>
              <a:gd name="connsiteX10" fmla="*/ 0 w 10000"/>
              <a:gd name="connsiteY10" fmla="*/ 1334 h 10022"/>
              <a:gd name="connsiteX0" fmla="*/ 0 w 10000"/>
              <a:gd name="connsiteY0" fmla="*/ 1334 h 10022"/>
              <a:gd name="connsiteX1" fmla="*/ 2474 w 10000"/>
              <a:gd name="connsiteY1" fmla="*/ 72 h 10022"/>
              <a:gd name="connsiteX2" fmla="*/ 7052 w 10000"/>
              <a:gd name="connsiteY2" fmla="*/ 2809 h 10022"/>
              <a:gd name="connsiteX3" fmla="*/ 9234 w 10000"/>
              <a:gd name="connsiteY3" fmla="*/ 2353 h 10022"/>
              <a:gd name="connsiteX4" fmla="*/ 10000 w 10000"/>
              <a:gd name="connsiteY4" fmla="*/ 1685 h 10022"/>
              <a:gd name="connsiteX5" fmla="*/ 9946 w 10000"/>
              <a:gd name="connsiteY5" fmla="*/ 9664 h 10022"/>
              <a:gd name="connsiteX6" fmla="*/ 7474 w 10000"/>
              <a:gd name="connsiteY6" fmla="*/ 10021 h 10022"/>
              <a:gd name="connsiteX7" fmla="*/ 4999 w 10000"/>
              <a:gd name="connsiteY7" fmla="*/ 9795 h 10022"/>
              <a:gd name="connsiteX8" fmla="*/ 2503 w 10000"/>
              <a:gd name="connsiteY8" fmla="*/ 9790 h 10022"/>
              <a:gd name="connsiteX9" fmla="*/ 0 w 10000"/>
              <a:gd name="connsiteY9" fmla="*/ 9399 h 10022"/>
              <a:gd name="connsiteX10" fmla="*/ 0 w 10000"/>
              <a:gd name="connsiteY10" fmla="*/ 1334 h 10022"/>
              <a:gd name="connsiteX0" fmla="*/ 0 w 10000"/>
              <a:gd name="connsiteY0" fmla="*/ 1338 h 10026"/>
              <a:gd name="connsiteX1" fmla="*/ 2474 w 10000"/>
              <a:gd name="connsiteY1" fmla="*/ 76 h 10026"/>
              <a:gd name="connsiteX2" fmla="*/ 7067 w 10000"/>
              <a:gd name="connsiteY2" fmla="*/ 2879 h 10026"/>
              <a:gd name="connsiteX3" fmla="*/ 9234 w 10000"/>
              <a:gd name="connsiteY3" fmla="*/ 2357 h 10026"/>
              <a:gd name="connsiteX4" fmla="*/ 10000 w 10000"/>
              <a:gd name="connsiteY4" fmla="*/ 1689 h 10026"/>
              <a:gd name="connsiteX5" fmla="*/ 9946 w 10000"/>
              <a:gd name="connsiteY5" fmla="*/ 9668 h 10026"/>
              <a:gd name="connsiteX6" fmla="*/ 7474 w 10000"/>
              <a:gd name="connsiteY6" fmla="*/ 10025 h 10026"/>
              <a:gd name="connsiteX7" fmla="*/ 4999 w 10000"/>
              <a:gd name="connsiteY7" fmla="*/ 9799 h 10026"/>
              <a:gd name="connsiteX8" fmla="*/ 2503 w 10000"/>
              <a:gd name="connsiteY8" fmla="*/ 9794 h 10026"/>
              <a:gd name="connsiteX9" fmla="*/ 0 w 10000"/>
              <a:gd name="connsiteY9" fmla="*/ 9403 h 10026"/>
              <a:gd name="connsiteX10" fmla="*/ 0 w 10000"/>
              <a:gd name="connsiteY10" fmla="*/ 1338 h 10026"/>
              <a:gd name="connsiteX0" fmla="*/ 0 w 10000"/>
              <a:gd name="connsiteY0" fmla="*/ 1338 h 10026"/>
              <a:gd name="connsiteX1" fmla="*/ 2474 w 10000"/>
              <a:gd name="connsiteY1" fmla="*/ 76 h 10026"/>
              <a:gd name="connsiteX2" fmla="*/ 7067 w 10000"/>
              <a:gd name="connsiteY2" fmla="*/ 2879 h 10026"/>
              <a:gd name="connsiteX3" fmla="*/ 9234 w 10000"/>
              <a:gd name="connsiteY3" fmla="*/ 2357 h 10026"/>
              <a:gd name="connsiteX4" fmla="*/ 10000 w 10000"/>
              <a:gd name="connsiteY4" fmla="*/ 1689 h 10026"/>
              <a:gd name="connsiteX5" fmla="*/ 9946 w 10000"/>
              <a:gd name="connsiteY5" fmla="*/ 9668 h 10026"/>
              <a:gd name="connsiteX6" fmla="*/ 7474 w 10000"/>
              <a:gd name="connsiteY6" fmla="*/ 10025 h 10026"/>
              <a:gd name="connsiteX7" fmla="*/ 4999 w 10000"/>
              <a:gd name="connsiteY7" fmla="*/ 9799 h 10026"/>
              <a:gd name="connsiteX8" fmla="*/ 2503 w 10000"/>
              <a:gd name="connsiteY8" fmla="*/ 9794 h 10026"/>
              <a:gd name="connsiteX9" fmla="*/ 0 w 10000"/>
              <a:gd name="connsiteY9" fmla="*/ 9403 h 10026"/>
              <a:gd name="connsiteX10" fmla="*/ 0 w 10000"/>
              <a:gd name="connsiteY10" fmla="*/ 1338 h 10026"/>
              <a:gd name="connsiteX0" fmla="*/ 0 w 10000"/>
              <a:gd name="connsiteY0" fmla="*/ 1338 h 10291"/>
              <a:gd name="connsiteX1" fmla="*/ 2474 w 10000"/>
              <a:gd name="connsiteY1" fmla="*/ 76 h 10291"/>
              <a:gd name="connsiteX2" fmla="*/ 7067 w 10000"/>
              <a:gd name="connsiteY2" fmla="*/ 2879 h 10291"/>
              <a:gd name="connsiteX3" fmla="*/ 9234 w 10000"/>
              <a:gd name="connsiteY3" fmla="*/ 2357 h 10291"/>
              <a:gd name="connsiteX4" fmla="*/ 10000 w 10000"/>
              <a:gd name="connsiteY4" fmla="*/ 1689 h 10291"/>
              <a:gd name="connsiteX5" fmla="*/ 9946 w 10000"/>
              <a:gd name="connsiteY5" fmla="*/ 9668 h 10291"/>
              <a:gd name="connsiteX6" fmla="*/ 7474 w 10000"/>
              <a:gd name="connsiteY6" fmla="*/ 10025 h 10291"/>
              <a:gd name="connsiteX7" fmla="*/ 4999 w 10000"/>
              <a:gd name="connsiteY7" fmla="*/ 9799 h 10291"/>
              <a:gd name="connsiteX8" fmla="*/ 2503 w 10000"/>
              <a:gd name="connsiteY8" fmla="*/ 9794 h 10291"/>
              <a:gd name="connsiteX9" fmla="*/ 0 w 10000"/>
              <a:gd name="connsiteY9" fmla="*/ 9800 h 10291"/>
              <a:gd name="connsiteX10" fmla="*/ 0 w 10000"/>
              <a:gd name="connsiteY10" fmla="*/ 1338 h 10291"/>
              <a:gd name="connsiteX0" fmla="*/ 0 w 10000"/>
              <a:gd name="connsiteY0" fmla="*/ 1338 h 10026"/>
              <a:gd name="connsiteX1" fmla="*/ 2474 w 10000"/>
              <a:gd name="connsiteY1" fmla="*/ 76 h 10026"/>
              <a:gd name="connsiteX2" fmla="*/ 7067 w 10000"/>
              <a:gd name="connsiteY2" fmla="*/ 2879 h 10026"/>
              <a:gd name="connsiteX3" fmla="*/ 9234 w 10000"/>
              <a:gd name="connsiteY3" fmla="*/ 2357 h 10026"/>
              <a:gd name="connsiteX4" fmla="*/ 10000 w 10000"/>
              <a:gd name="connsiteY4" fmla="*/ 1689 h 10026"/>
              <a:gd name="connsiteX5" fmla="*/ 9946 w 10000"/>
              <a:gd name="connsiteY5" fmla="*/ 9668 h 10026"/>
              <a:gd name="connsiteX6" fmla="*/ 7474 w 10000"/>
              <a:gd name="connsiteY6" fmla="*/ 10025 h 10026"/>
              <a:gd name="connsiteX7" fmla="*/ 4999 w 10000"/>
              <a:gd name="connsiteY7" fmla="*/ 9799 h 10026"/>
              <a:gd name="connsiteX8" fmla="*/ 2503 w 10000"/>
              <a:gd name="connsiteY8" fmla="*/ 9794 h 10026"/>
              <a:gd name="connsiteX9" fmla="*/ 0 w 10000"/>
              <a:gd name="connsiteY9" fmla="*/ 9800 h 10026"/>
              <a:gd name="connsiteX10" fmla="*/ 0 w 10000"/>
              <a:gd name="connsiteY10" fmla="*/ 1338 h 10026"/>
              <a:gd name="connsiteX0" fmla="*/ 0 w 10000"/>
              <a:gd name="connsiteY0" fmla="*/ 1338 h 9849"/>
              <a:gd name="connsiteX1" fmla="*/ 2474 w 10000"/>
              <a:gd name="connsiteY1" fmla="*/ 76 h 9849"/>
              <a:gd name="connsiteX2" fmla="*/ 7067 w 10000"/>
              <a:gd name="connsiteY2" fmla="*/ 2879 h 9849"/>
              <a:gd name="connsiteX3" fmla="*/ 9234 w 10000"/>
              <a:gd name="connsiteY3" fmla="*/ 2357 h 9849"/>
              <a:gd name="connsiteX4" fmla="*/ 10000 w 10000"/>
              <a:gd name="connsiteY4" fmla="*/ 1689 h 9849"/>
              <a:gd name="connsiteX5" fmla="*/ 9946 w 10000"/>
              <a:gd name="connsiteY5" fmla="*/ 9668 h 9849"/>
              <a:gd name="connsiteX6" fmla="*/ 7489 w 10000"/>
              <a:gd name="connsiteY6" fmla="*/ 9849 h 9849"/>
              <a:gd name="connsiteX7" fmla="*/ 4999 w 10000"/>
              <a:gd name="connsiteY7" fmla="*/ 9799 h 9849"/>
              <a:gd name="connsiteX8" fmla="*/ 2503 w 10000"/>
              <a:gd name="connsiteY8" fmla="*/ 9794 h 9849"/>
              <a:gd name="connsiteX9" fmla="*/ 0 w 10000"/>
              <a:gd name="connsiteY9" fmla="*/ 9800 h 9849"/>
              <a:gd name="connsiteX10" fmla="*/ 0 w 10000"/>
              <a:gd name="connsiteY10" fmla="*/ 1338 h 9849"/>
              <a:gd name="connsiteX0" fmla="*/ 0 w 10000"/>
              <a:gd name="connsiteY0" fmla="*/ 1359 h 10000"/>
              <a:gd name="connsiteX1" fmla="*/ 2474 w 10000"/>
              <a:gd name="connsiteY1" fmla="*/ 77 h 10000"/>
              <a:gd name="connsiteX2" fmla="*/ 7067 w 10000"/>
              <a:gd name="connsiteY2" fmla="*/ 2923 h 10000"/>
              <a:gd name="connsiteX3" fmla="*/ 9234 w 10000"/>
              <a:gd name="connsiteY3" fmla="*/ 2393 h 10000"/>
              <a:gd name="connsiteX4" fmla="*/ 10000 w 10000"/>
              <a:gd name="connsiteY4" fmla="*/ 1715 h 10000"/>
              <a:gd name="connsiteX5" fmla="*/ 9946 w 10000"/>
              <a:gd name="connsiteY5" fmla="*/ 9973 h 10000"/>
              <a:gd name="connsiteX6" fmla="*/ 7489 w 10000"/>
              <a:gd name="connsiteY6" fmla="*/ 10000 h 10000"/>
              <a:gd name="connsiteX7" fmla="*/ 4999 w 10000"/>
              <a:gd name="connsiteY7" fmla="*/ 9949 h 10000"/>
              <a:gd name="connsiteX8" fmla="*/ 2503 w 10000"/>
              <a:gd name="connsiteY8" fmla="*/ 9944 h 10000"/>
              <a:gd name="connsiteX9" fmla="*/ 0 w 10000"/>
              <a:gd name="connsiteY9" fmla="*/ 9950 h 10000"/>
              <a:gd name="connsiteX10" fmla="*/ 0 w 10000"/>
              <a:gd name="connsiteY10" fmla="*/ 1359 h 10000"/>
              <a:gd name="connsiteX0" fmla="*/ 0 w 10000"/>
              <a:gd name="connsiteY0" fmla="*/ 1359 h 10000"/>
              <a:gd name="connsiteX1" fmla="*/ 2474 w 10000"/>
              <a:gd name="connsiteY1" fmla="*/ 77 h 10000"/>
              <a:gd name="connsiteX2" fmla="*/ 7067 w 10000"/>
              <a:gd name="connsiteY2" fmla="*/ 2923 h 10000"/>
              <a:gd name="connsiteX3" fmla="*/ 9234 w 10000"/>
              <a:gd name="connsiteY3" fmla="*/ 2393 h 10000"/>
              <a:gd name="connsiteX4" fmla="*/ 10000 w 10000"/>
              <a:gd name="connsiteY4" fmla="*/ 1715 h 10000"/>
              <a:gd name="connsiteX5" fmla="*/ 9885 w 10000"/>
              <a:gd name="connsiteY5" fmla="*/ 9973 h 10000"/>
              <a:gd name="connsiteX6" fmla="*/ 7489 w 10000"/>
              <a:gd name="connsiteY6" fmla="*/ 10000 h 10000"/>
              <a:gd name="connsiteX7" fmla="*/ 4999 w 10000"/>
              <a:gd name="connsiteY7" fmla="*/ 9949 h 10000"/>
              <a:gd name="connsiteX8" fmla="*/ 2503 w 10000"/>
              <a:gd name="connsiteY8" fmla="*/ 9944 h 10000"/>
              <a:gd name="connsiteX9" fmla="*/ 0 w 10000"/>
              <a:gd name="connsiteY9" fmla="*/ 9950 h 10000"/>
              <a:gd name="connsiteX10" fmla="*/ 0 w 10000"/>
              <a:gd name="connsiteY10" fmla="*/ 1359 h 10000"/>
              <a:gd name="connsiteX0" fmla="*/ 0 w 10008"/>
              <a:gd name="connsiteY0" fmla="*/ 1359 h 10000"/>
              <a:gd name="connsiteX1" fmla="*/ 2474 w 10008"/>
              <a:gd name="connsiteY1" fmla="*/ 77 h 10000"/>
              <a:gd name="connsiteX2" fmla="*/ 7067 w 10008"/>
              <a:gd name="connsiteY2" fmla="*/ 2923 h 10000"/>
              <a:gd name="connsiteX3" fmla="*/ 9234 w 10008"/>
              <a:gd name="connsiteY3" fmla="*/ 2393 h 10000"/>
              <a:gd name="connsiteX4" fmla="*/ 10008 w 10008"/>
              <a:gd name="connsiteY4" fmla="*/ 1581 h 10000"/>
              <a:gd name="connsiteX5" fmla="*/ 9885 w 10008"/>
              <a:gd name="connsiteY5" fmla="*/ 9973 h 10000"/>
              <a:gd name="connsiteX6" fmla="*/ 7489 w 10008"/>
              <a:gd name="connsiteY6" fmla="*/ 10000 h 10000"/>
              <a:gd name="connsiteX7" fmla="*/ 4999 w 10008"/>
              <a:gd name="connsiteY7" fmla="*/ 9949 h 10000"/>
              <a:gd name="connsiteX8" fmla="*/ 2503 w 10008"/>
              <a:gd name="connsiteY8" fmla="*/ 9944 h 10000"/>
              <a:gd name="connsiteX9" fmla="*/ 0 w 10008"/>
              <a:gd name="connsiteY9" fmla="*/ 9950 h 10000"/>
              <a:gd name="connsiteX10" fmla="*/ 0 w 10008"/>
              <a:gd name="connsiteY10" fmla="*/ 1359 h 10000"/>
              <a:gd name="connsiteX0" fmla="*/ 0 w 10008"/>
              <a:gd name="connsiteY0" fmla="*/ 1359 h 10000"/>
              <a:gd name="connsiteX1" fmla="*/ 2474 w 10008"/>
              <a:gd name="connsiteY1" fmla="*/ 77 h 10000"/>
              <a:gd name="connsiteX2" fmla="*/ 7067 w 10008"/>
              <a:gd name="connsiteY2" fmla="*/ 2923 h 10000"/>
              <a:gd name="connsiteX3" fmla="*/ 9234 w 10008"/>
              <a:gd name="connsiteY3" fmla="*/ 2393 h 10000"/>
              <a:gd name="connsiteX4" fmla="*/ 10008 w 10008"/>
              <a:gd name="connsiteY4" fmla="*/ 1581 h 10000"/>
              <a:gd name="connsiteX5" fmla="*/ 9885 w 10008"/>
              <a:gd name="connsiteY5" fmla="*/ 9973 h 10000"/>
              <a:gd name="connsiteX6" fmla="*/ 7489 w 10008"/>
              <a:gd name="connsiteY6" fmla="*/ 10000 h 10000"/>
              <a:gd name="connsiteX7" fmla="*/ 4999 w 10008"/>
              <a:gd name="connsiteY7" fmla="*/ 9949 h 10000"/>
              <a:gd name="connsiteX8" fmla="*/ 2503 w 10008"/>
              <a:gd name="connsiteY8" fmla="*/ 9944 h 10000"/>
              <a:gd name="connsiteX9" fmla="*/ 0 w 10008"/>
              <a:gd name="connsiteY9" fmla="*/ 9950 h 10000"/>
              <a:gd name="connsiteX10" fmla="*/ 0 w 10008"/>
              <a:gd name="connsiteY10" fmla="*/ 1359 h 10000"/>
              <a:gd name="connsiteX0" fmla="*/ 0 w 10008"/>
              <a:gd name="connsiteY0" fmla="*/ 1359 h 11623"/>
              <a:gd name="connsiteX1" fmla="*/ 2474 w 10008"/>
              <a:gd name="connsiteY1" fmla="*/ 77 h 11623"/>
              <a:gd name="connsiteX2" fmla="*/ 7067 w 10008"/>
              <a:gd name="connsiteY2" fmla="*/ 2923 h 11623"/>
              <a:gd name="connsiteX3" fmla="*/ 9234 w 10008"/>
              <a:gd name="connsiteY3" fmla="*/ 2393 h 11623"/>
              <a:gd name="connsiteX4" fmla="*/ 10008 w 10008"/>
              <a:gd name="connsiteY4" fmla="*/ 1581 h 11623"/>
              <a:gd name="connsiteX5" fmla="*/ 9885 w 10008"/>
              <a:gd name="connsiteY5" fmla="*/ 9973 h 11623"/>
              <a:gd name="connsiteX6" fmla="*/ 7489 w 10008"/>
              <a:gd name="connsiteY6" fmla="*/ 10000 h 11623"/>
              <a:gd name="connsiteX7" fmla="*/ 4999 w 10008"/>
              <a:gd name="connsiteY7" fmla="*/ 9949 h 11623"/>
              <a:gd name="connsiteX8" fmla="*/ 2503 w 10008"/>
              <a:gd name="connsiteY8" fmla="*/ 9944 h 11623"/>
              <a:gd name="connsiteX9" fmla="*/ 0 w 10008"/>
              <a:gd name="connsiteY9" fmla="*/ 11623 h 11623"/>
              <a:gd name="connsiteX10" fmla="*/ 0 w 10008"/>
              <a:gd name="connsiteY10" fmla="*/ 1359 h 11623"/>
              <a:gd name="connsiteX0" fmla="*/ 0 w 10008"/>
              <a:gd name="connsiteY0" fmla="*/ 1359 h 11623"/>
              <a:gd name="connsiteX1" fmla="*/ 2474 w 10008"/>
              <a:gd name="connsiteY1" fmla="*/ 77 h 11623"/>
              <a:gd name="connsiteX2" fmla="*/ 7067 w 10008"/>
              <a:gd name="connsiteY2" fmla="*/ 2923 h 11623"/>
              <a:gd name="connsiteX3" fmla="*/ 9234 w 10008"/>
              <a:gd name="connsiteY3" fmla="*/ 2393 h 11623"/>
              <a:gd name="connsiteX4" fmla="*/ 10008 w 10008"/>
              <a:gd name="connsiteY4" fmla="*/ 1581 h 11623"/>
              <a:gd name="connsiteX5" fmla="*/ 9885 w 10008"/>
              <a:gd name="connsiteY5" fmla="*/ 9973 h 11623"/>
              <a:gd name="connsiteX6" fmla="*/ 7489 w 10008"/>
              <a:gd name="connsiteY6" fmla="*/ 10000 h 11623"/>
              <a:gd name="connsiteX7" fmla="*/ 4999 w 10008"/>
              <a:gd name="connsiteY7" fmla="*/ 9949 h 11623"/>
              <a:gd name="connsiteX8" fmla="*/ 2503 w 10008"/>
              <a:gd name="connsiteY8" fmla="*/ 11366 h 11623"/>
              <a:gd name="connsiteX9" fmla="*/ 0 w 10008"/>
              <a:gd name="connsiteY9" fmla="*/ 11623 h 11623"/>
              <a:gd name="connsiteX10" fmla="*/ 0 w 10008"/>
              <a:gd name="connsiteY10" fmla="*/ 1359 h 11623"/>
              <a:gd name="connsiteX0" fmla="*/ 0 w 10008"/>
              <a:gd name="connsiteY0" fmla="*/ 1359 h 11623"/>
              <a:gd name="connsiteX1" fmla="*/ 2474 w 10008"/>
              <a:gd name="connsiteY1" fmla="*/ 77 h 11623"/>
              <a:gd name="connsiteX2" fmla="*/ 7067 w 10008"/>
              <a:gd name="connsiteY2" fmla="*/ 2923 h 11623"/>
              <a:gd name="connsiteX3" fmla="*/ 9234 w 10008"/>
              <a:gd name="connsiteY3" fmla="*/ 2393 h 11623"/>
              <a:gd name="connsiteX4" fmla="*/ 10008 w 10008"/>
              <a:gd name="connsiteY4" fmla="*/ 1581 h 11623"/>
              <a:gd name="connsiteX5" fmla="*/ 9885 w 10008"/>
              <a:gd name="connsiteY5" fmla="*/ 9973 h 11623"/>
              <a:gd name="connsiteX6" fmla="*/ 7489 w 10008"/>
              <a:gd name="connsiteY6" fmla="*/ 10000 h 11623"/>
              <a:gd name="connsiteX7" fmla="*/ 5066 w 10008"/>
              <a:gd name="connsiteY7" fmla="*/ 11176 h 11623"/>
              <a:gd name="connsiteX8" fmla="*/ 2503 w 10008"/>
              <a:gd name="connsiteY8" fmla="*/ 11366 h 11623"/>
              <a:gd name="connsiteX9" fmla="*/ 0 w 10008"/>
              <a:gd name="connsiteY9" fmla="*/ 11623 h 11623"/>
              <a:gd name="connsiteX10" fmla="*/ 0 w 10008"/>
              <a:gd name="connsiteY10" fmla="*/ 1359 h 11623"/>
              <a:gd name="connsiteX0" fmla="*/ 0 w 10008"/>
              <a:gd name="connsiteY0" fmla="*/ 1359 h 11623"/>
              <a:gd name="connsiteX1" fmla="*/ 2474 w 10008"/>
              <a:gd name="connsiteY1" fmla="*/ 77 h 11623"/>
              <a:gd name="connsiteX2" fmla="*/ 7067 w 10008"/>
              <a:gd name="connsiteY2" fmla="*/ 2923 h 11623"/>
              <a:gd name="connsiteX3" fmla="*/ 9234 w 10008"/>
              <a:gd name="connsiteY3" fmla="*/ 2393 h 11623"/>
              <a:gd name="connsiteX4" fmla="*/ 10008 w 10008"/>
              <a:gd name="connsiteY4" fmla="*/ 1581 h 11623"/>
              <a:gd name="connsiteX5" fmla="*/ 9885 w 10008"/>
              <a:gd name="connsiteY5" fmla="*/ 9973 h 11623"/>
              <a:gd name="connsiteX6" fmla="*/ 7508 w 10008"/>
              <a:gd name="connsiteY6" fmla="*/ 11088 h 11623"/>
              <a:gd name="connsiteX7" fmla="*/ 5066 w 10008"/>
              <a:gd name="connsiteY7" fmla="*/ 11176 h 11623"/>
              <a:gd name="connsiteX8" fmla="*/ 2503 w 10008"/>
              <a:gd name="connsiteY8" fmla="*/ 11366 h 11623"/>
              <a:gd name="connsiteX9" fmla="*/ 0 w 10008"/>
              <a:gd name="connsiteY9" fmla="*/ 11623 h 11623"/>
              <a:gd name="connsiteX10" fmla="*/ 0 w 10008"/>
              <a:gd name="connsiteY10" fmla="*/ 1359 h 11623"/>
              <a:gd name="connsiteX0" fmla="*/ 0 w 10023"/>
              <a:gd name="connsiteY0" fmla="*/ 1359 h 11623"/>
              <a:gd name="connsiteX1" fmla="*/ 2474 w 10023"/>
              <a:gd name="connsiteY1" fmla="*/ 77 h 11623"/>
              <a:gd name="connsiteX2" fmla="*/ 7067 w 10023"/>
              <a:gd name="connsiteY2" fmla="*/ 2923 h 11623"/>
              <a:gd name="connsiteX3" fmla="*/ 9234 w 10023"/>
              <a:gd name="connsiteY3" fmla="*/ 2393 h 11623"/>
              <a:gd name="connsiteX4" fmla="*/ 10008 w 10023"/>
              <a:gd name="connsiteY4" fmla="*/ 1581 h 11623"/>
              <a:gd name="connsiteX5" fmla="*/ 10019 w 10023"/>
              <a:gd name="connsiteY5" fmla="*/ 11144 h 11623"/>
              <a:gd name="connsiteX6" fmla="*/ 7508 w 10023"/>
              <a:gd name="connsiteY6" fmla="*/ 11088 h 11623"/>
              <a:gd name="connsiteX7" fmla="*/ 5066 w 10023"/>
              <a:gd name="connsiteY7" fmla="*/ 11176 h 11623"/>
              <a:gd name="connsiteX8" fmla="*/ 2503 w 10023"/>
              <a:gd name="connsiteY8" fmla="*/ 11366 h 11623"/>
              <a:gd name="connsiteX9" fmla="*/ 0 w 10023"/>
              <a:gd name="connsiteY9" fmla="*/ 11623 h 11623"/>
              <a:gd name="connsiteX10" fmla="*/ 0 w 10023"/>
              <a:gd name="connsiteY10" fmla="*/ 1359 h 11623"/>
              <a:gd name="connsiteX0" fmla="*/ 0 w 10023"/>
              <a:gd name="connsiteY0" fmla="*/ 1359 h 11623"/>
              <a:gd name="connsiteX1" fmla="*/ 2474 w 10023"/>
              <a:gd name="connsiteY1" fmla="*/ 77 h 11623"/>
              <a:gd name="connsiteX2" fmla="*/ 7067 w 10023"/>
              <a:gd name="connsiteY2" fmla="*/ 2923 h 11623"/>
              <a:gd name="connsiteX3" fmla="*/ 9234 w 10023"/>
              <a:gd name="connsiteY3" fmla="*/ 2393 h 11623"/>
              <a:gd name="connsiteX4" fmla="*/ 10008 w 10023"/>
              <a:gd name="connsiteY4" fmla="*/ 1581 h 11623"/>
              <a:gd name="connsiteX5" fmla="*/ 10019 w 10023"/>
              <a:gd name="connsiteY5" fmla="*/ 11144 h 11623"/>
              <a:gd name="connsiteX6" fmla="*/ 7508 w 10023"/>
              <a:gd name="connsiteY6" fmla="*/ 11088 h 11623"/>
              <a:gd name="connsiteX7" fmla="*/ 5076 w 10023"/>
              <a:gd name="connsiteY7" fmla="*/ 11371 h 11623"/>
              <a:gd name="connsiteX8" fmla="*/ 2503 w 10023"/>
              <a:gd name="connsiteY8" fmla="*/ 11366 h 11623"/>
              <a:gd name="connsiteX9" fmla="*/ 0 w 10023"/>
              <a:gd name="connsiteY9" fmla="*/ 11623 h 11623"/>
              <a:gd name="connsiteX10" fmla="*/ 0 w 10023"/>
              <a:gd name="connsiteY10" fmla="*/ 1359 h 11623"/>
              <a:gd name="connsiteX0" fmla="*/ 0 w 10023"/>
              <a:gd name="connsiteY0" fmla="*/ 1359 h 11623"/>
              <a:gd name="connsiteX1" fmla="*/ 2474 w 10023"/>
              <a:gd name="connsiteY1" fmla="*/ 77 h 11623"/>
              <a:gd name="connsiteX2" fmla="*/ 7067 w 10023"/>
              <a:gd name="connsiteY2" fmla="*/ 2923 h 11623"/>
              <a:gd name="connsiteX3" fmla="*/ 9234 w 10023"/>
              <a:gd name="connsiteY3" fmla="*/ 2393 h 11623"/>
              <a:gd name="connsiteX4" fmla="*/ 10008 w 10023"/>
              <a:gd name="connsiteY4" fmla="*/ 1581 h 11623"/>
              <a:gd name="connsiteX5" fmla="*/ 10019 w 10023"/>
              <a:gd name="connsiteY5" fmla="*/ 11144 h 11623"/>
              <a:gd name="connsiteX6" fmla="*/ 7508 w 10023"/>
              <a:gd name="connsiteY6" fmla="*/ 11088 h 11623"/>
              <a:gd name="connsiteX7" fmla="*/ 5076 w 10023"/>
              <a:gd name="connsiteY7" fmla="*/ 11371 h 11623"/>
              <a:gd name="connsiteX8" fmla="*/ 2503 w 10023"/>
              <a:gd name="connsiteY8" fmla="*/ 11366 h 11623"/>
              <a:gd name="connsiteX9" fmla="*/ 0 w 10023"/>
              <a:gd name="connsiteY9" fmla="*/ 11623 h 11623"/>
              <a:gd name="connsiteX10" fmla="*/ 0 w 10023"/>
              <a:gd name="connsiteY10" fmla="*/ 1359 h 11623"/>
              <a:gd name="connsiteX0" fmla="*/ 0 w 10023"/>
              <a:gd name="connsiteY0" fmla="*/ 1359 h 11623"/>
              <a:gd name="connsiteX1" fmla="*/ 2474 w 10023"/>
              <a:gd name="connsiteY1" fmla="*/ 77 h 11623"/>
              <a:gd name="connsiteX2" fmla="*/ 7067 w 10023"/>
              <a:gd name="connsiteY2" fmla="*/ 2923 h 11623"/>
              <a:gd name="connsiteX3" fmla="*/ 9234 w 10023"/>
              <a:gd name="connsiteY3" fmla="*/ 2393 h 11623"/>
              <a:gd name="connsiteX4" fmla="*/ 10008 w 10023"/>
              <a:gd name="connsiteY4" fmla="*/ 1581 h 11623"/>
              <a:gd name="connsiteX5" fmla="*/ 10019 w 10023"/>
              <a:gd name="connsiteY5" fmla="*/ 11144 h 11623"/>
              <a:gd name="connsiteX6" fmla="*/ 7518 w 10023"/>
              <a:gd name="connsiteY6" fmla="*/ 11200 h 11623"/>
              <a:gd name="connsiteX7" fmla="*/ 5076 w 10023"/>
              <a:gd name="connsiteY7" fmla="*/ 11371 h 11623"/>
              <a:gd name="connsiteX8" fmla="*/ 2503 w 10023"/>
              <a:gd name="connsiteY8" fmla="*/ 11366 h 11623"/>
              <a:gd name="connsiteX9" fmla="*/ 0 w 10023"/>
              <a:gd name="connsiteY9" fmla="*/ 11623 h 11623"/>
              <a:gd name="connsiteX10" fmla="*/ 0 w 10023"/>
              <a:gd name="connsiteY10" fmla="*/ 1359 h 1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23" h="11623">
                <a:moveTo>
                  <a:pt x="0" y="1359"/>
                </a:moveTo>
                <a:cubicBezTo>
                  <a:pt x="621" y="203"/>
                  <a:pt x="1296" y="-184"/>
                  <a:pt x="2474" y="77"/>
                </a:cubicBezTo>
                <a:cubicBezTo>
                  <a:pt x="3652" y="338"/>
                  <a:pt x="5940" y="2537"/>
                  <a:pt x="7067" y="2923"/>
                </a:cubicBezTo>
                <a:cubicBezTo>
                  <a:pt x="8194" y="3309"/>
                  <a:pt x="8713" y="2818"/>
                  <a:pt x="9234" y="2393"/>
                </a:cubicBezTo>
                <a:cubicBezTo>
                  <a:pt x="9755" y="1968"/>
                  <a:pt x="10008" y="1484"/>
                  <a:pt x="10008" y="1581"/>
                </a:cubicBezTo>
                <a:cubicBezTo>
                  <a:pt x="9990" y="4281"/>
                  <a:pt x="10037" y="8443"/>
                  <a:pt x="10019" y="11144"/>
                </a:cubicBezTo>
                <a:cubicBezTo>
                  <a:pt x="9674" y="11159"/>
                  <a:pt x="8342" y="11162"/>
                  <a:pt x="7518" y="11200"/>
                </a:cubicBezTo>
                <a:cubicBezTo>
                  <a:pt x="6694" y="11238"/>
                  <a:pt x="5912" y="11343"/>
                  <a:pt x="5076" y="11371"/>
                </a:cubicBezTo>
                <a:cubicBezTo>
                  <a:pt x="4240" y="11399"/>
                  <a:pt x="3545" y="11284"/>
                  <a:pt x="2503" y="11366"/>
                </a:cubicBezTo>
                <a:lnTo>
                  <a:pt x="0" y="11623"/>
                </a:lnTo>
                <a:lnTo>
                  <a:pt x="0" y="1359"/>
                </a:lnTo>
                <a:close/>
              </a:path>
            </a:pathLst>
          </a:custGeom>
          <a:solidFill>
            <a:schemeClr val="bg2">
              <a:lumMod val="75000"/>
            </a:schemeClr>
          </a:solidFill>
        </p:spPr>
        <p:txBody>
          <a:bodyPr/>
          <a:lstStyle/>
          <a:p>
            <a:endParaRPr lang="en-MX"/>
          </a:p>
        </p:txBody>
      </p:sp>
      <p:pic>
        <p:nvPicPr>
          <p:cNvPr id="22" name="Picture 21" descr="A picture containing text, clipart&#10;&#10;Description automatically generated">
            <a:extLst>
              <a:ext uri="{FF2B5EF4-FFF2-40B4-BE49-F238E27FC236}">
                <a16:creationId xmlns:a16="http://schemas.microsoft.com/office/drawing/2014/main" id="{97200F7D-E53F-2241-8E1B-54EF01C870B0}"/>
              </a:ext>
            </a:extLst>
          </p:cNvPr>
          <p:cNvPicPr>
            <a:picLocks noChangeAspect="1"/>
          </p:cNvPicPr>
          <p:nvPr userDrawn="1"/>
        </p:nvPicPr>
        <p:blipFill>
          <a:blip r:embed="rId2"/>
          <a:stretch>
            <a:fillRect/>
          </a:stretch>
        </p:blipFill>
        <p:spPr>
          <a:xfrm>
            <a:off x="9520575" y="403393"/>
            <a:ext cx="2249814" cy="251624"/>
          </a:xfrm>
          <a:prstGeom prst="rect">
            <a:avLst/>
          </a:prstGeom>
        </p:spPr>
      </p:pic>
      <p:sp>
        <p:nvSpPr>
          <p:cNvPr id="23" name="Title 1">
            <a:extLst>
              <a:ext uri="{FF2B5EF4-FFF2-40B4-BE49-F238E27FC236}">
                <a16:creationId xmlns:a16="http://schemas.microsoft.com/office/drawing/2014/main" id="{EB6FDA70-2217-7245-BA96-83E45417517B}"/>
              </a:ext>
            </a:extLst>
          </p:cNvPr>
          <p:cNvSpPr>
            <a:spLocks noGrp="1"/>
          </p:cNvSpPr>
          <p:nvPr>
            <p:ph type="ctrTitle" hasCustomPrompt="1"/>
          </p:nvPr>
        </p:nvSpPr>
        <p:spPr>
          <a:xfrm>
            <a:off x="421611" y="446492"/>
            <a:ext cx="4906548" cy="685800"/>
          </a:xfrm>
          <a:prstGeom prst="rect">
            <a:avLst/>
          </a:prstGeom>
        </p:spPr>
        <p:txBody>
          <a:bodyPr lIns="0" tIns="0" rIns="0" bIns="0" anchor="t" anchorCtr="0"/>
          <a:lstStyle>
            <a:lvl1pPr algn="l">
              <a:defRPr sz="5500">
                <a:solidFill>
                  <a:srgbClr val="41A928"/>
                </a:solidFill>
              </a:defRPr>
            </a:lvl1pPr>
          </a:lstStyle>
          <a:p>
            <a:r>
              <a:rPr lang="en-US" dirty="0"/>
              <a:t>Click to edit title</a:t>
            </a:r>
          </a:p>
        </p:txBody>
      </p:sp>
      <p:sp>
        <p:nvSpPr>
          <p:cNvPr id="24" name="Subtitle 2">
            <a:extLst>
              <a:ext uri="{FF2B5EF4-FFF2-40B4-BE49-F238E27FC236}">
                <a16:creationId xmlns:a16="http://schemas.microsoft.com/office/drawing/2014/main" id="{02E4A1FA-6C50-0E47-BCFC-6A863B190750}"/>
              </a:ext>
            </a:extLst>
          </p:cNvPr>
          <p:cNvSpPr>
            <a:spLocks noGrp="1"/>
          </p:cNvSpPr>
          <p:nvPr>
            <p:ph type="subTitle" idx="1" hasCustomPrompt="1"/>
          </p:nvPr>
        </p:nvSpPr>
        <p:spPr>
          <a:xfrm>
            <a:off x="421611" y="1202558"/>
            <a:ext cx="4906548" cy="365760"/>
          </a:xfrm>
          <a:prstGeom prst="rect">
            <a:avLst/>
          </a:prstGeom>
        </p:spPr>
        <p:txBody>
          <a:bodyPr vert="horz" lIns="0" rIns="0" bIns="0" anchor="t" anchorCtr="0">
            <a:noAutofit/>
          </a:bodyPr>
          <a:lstStyle>
            <a:lvl1pPr marL="0" indent="0" algn="l">
              <a:buNone/>
              <a:defRPr sz="2500">
                <a:solidFill>
                  <a:srgbClr val="41A92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Tree>
    <p:extLst>
      <p:ext uri="{BB962C8B-B14F-4D97-AF65-F5344CB8AC3E}">
        <p14:creationId xmlns:p14="http://schemas.microsoft.com/office/powerpoint/2010/main" val="39649041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side_3 Pictures/Icons Slide_11">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2681162"/>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5987233"/>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3"/>
          <a:stretch>
            <a:fillRect/>
          </a:stretch>
        </p:blipFill>
        <p:spPr>
          <a:xfrm>
            <a:off x="388921" y="5189632"/>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3"/>
          <a:stretch>
            <a:fillRect/>
          </a:stretch>
        </p:blipFill>
        <p:spPr>
          <a:xfrm>
            <a:off x="11021657" y="2462723"/>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4"/>
          <a:stretch>
            <a:fillRect/>
          </a:stretch>
        </p:blipFill>
        <p:spPr>
          <a:xfrm>
            <a:off x="11339642" y="3178778"/>
            <a:ext cx="380030" cy="380030"/>
          </a:xfrm>
          <a:prstGeom prst="rect">
            <a:avLst/>
          </a:prstGeom>
        </p:spPr>
      </p:pic>
      <p:sp>
        <p:nvSpPr>
          <p:cNvPr id="3" name="Picture Placeholder 2">
            <a:extLst>
              <a:ext uri="{FF2B5EF4-FFF2-40B4-BE49-F238E27FC236}">
                <a16:creationId xmlns:a16="http://schemas.microsoft.com/office/drawing/2014/main" id="{01DB6509-269A-C64D-9AFB-5FFD0C152EAA}"/>
              </a:ext>
            </a:extLst>
          </p:cNvPr>
          <p:cNvSpPr>
            <a:spLocks noGrp="1"/>
          </p:cNvSpPr>
          <p:nvPr>
            <p:ph type="pic" sz="quarter" idx="17"/>
          </p:nvPr>
        </p:nvSpPr>
        <p:spPr>
          <a:xfrm>
            <a:off x="1942709" y="1886783"/>
            <a:ext cx="2028485" cy="2028486"/>
          </a:xfrm>
          <a:prstGeom prst="roundRect">
            <a:avLst/>
          </a:prstGeom>
          <a:solidFill>
            <a:schemeClr val="bg2">
              <a:lumMod val="75000"/>
            </a:schemeClr>
          </a:solidFill>
        </p:spPr>
        <p:txBody>
          <a:bodyPr/>
          <a:lstStyle/>
          <a:p>
            <a:endParaRPr lang="en-MX"/>
          </a:p>
        </p:txBody>
      </p:sp>
      <p:sp>
        <p:nvSpPr>
          <p:cNvPr id="16" name="Picture Placeholder 2">
            <a:extLst>
              <a:ext uri="{FF2B5EF4-FFF2-40B4-BE49-F238E27FC236}">
                <a16:creationId xmlns:a16="http://schemas.microsoft.com/office/drawing/2014/main" id="{3D5A1D94-5D6C-0C49-8251-561DD21D6751}"/>
              </a:ext>
            </a:extLst>
          </p:cNvPr>
          <p:cNvSpPr>
            <a:spLocks noGrp="1"/>
          </p:cNvSpPr>
          <p:nvPr>
            <p:ph type="pic" sz="quarter" idx="18"/>
          </p:nvPr>
        </p:nvSpPr>
        <p:spPr>
          <a:xfrm>
            <a:off x="4972964" y="1886783"/>
            <a:ext cx="2028485" cy="2028486"/>
          </a:xfrm>
          <a:prstGeom prst="roundRect">
            <a:avLst/>
          </a:prstGeom>
          <a:solidFill>
            <a:schemeClr val="bg2">
              <a:lumMod val="75000"/>
            </a:schemeClr>
          </a:solidFill>
        </p:spPr>
        <p:txBody>
          <a:bodyPr/>
          <a:lstStyle/>
          <a:p>
            <a:endParaRPr lang="en-MX"/>
          </a:p>
        </p:txBody>
      </p:sp>
      <p:sp>
        <p:nvSpPr>
          <p:cNvPr id="18" name="Picture Placeholder 2">
            <a:extLst>
              <a:ext uri="{FF2B5EF4-FFF2-40B4-BE49-F238E27FC236}">
                <a16:creationId xmlns:a16="http://schemas.microsoft.com/office/drawing/2014/main" id="{6FE3EEE3-CDF1-5344-A174-2033297C5642}"/>
              </a:ext>
            </a:extLst>
          </p:cNvPr>
          <p:cNvSpPr>
            <a:spLocks noGrp="1"/>
          </p:cNvSpPr>
          <p:nvPr>
            <p:ph type="pic" sz="quarter" idx="19"/>
          </p:nvPr>
        </p:nvSpPr>
        <p:spPr>
          <a:xfrm>
            <a:off x="8107494" y="1886783"/>
            <a:ext cx="2028485" cy="2028486"/>
          </a:xfrm>
          <a:prstGeom prst="roundRect">
            <a:avLst/>
          </a:prstGeom>
          <a:solidFill>
            <a:schemeClr val="bg2">
              <a:lumMod val="75000"/>
            </a:schemeClr>
          </a:solidFill>
        </p:spPr>
        <p:txBody>
          <a:bodyPr/>
          <a:lstStyle/>
          <a:p>
            <a:endParaRPr lang="en-MX"/>
          </a:p>
        </p:txBody>
      </p:sp>
      <p:sp>
        <p:nvSpPr>
          <p:cNvPr id="14" name="Text Placeholder 20">
            <a:extLst>
              <a:ext uri="{FF2B5EF4-FFF2-40B4-BE49-F238E27FC236}">
                <a16:creationId xmlns:a16="http://schemas.microsoft.com/office/drawing/2014/main" id="{18B2F540-A75E-7A47-AF68-C71D6C9BC0F4}"/>
              </a:ext>
            </a:extLst>
          </p:cNvPr>
          <p:cNvSpPr>
            <a:spLocks noGrp="1"/>
          </p:cNvSpPr>
          <p:nvPr>
            <p:ph type="body" sz="quarter" idx="20" hasCustomPrompt="1"/>
          </p:nvPr>
        </p:nvSpPr>
        <p:spPr>
          <a:xfrm>
            <a:off x="1747301" y="4193371"/>
            <a:ext cx="2458363" cy="457201"/>
          </a:xfrm>
        </p:spPr>
        <p:txBody>
          <a:bodyPr>
            <a:normAutofit/>
          </a:bodyPr>
          <a:lstStyle>
            <a:lvl1pPr algn="l">
              <a:buNone/>
              <a:defRPr sz="2000">
                <a:solidFill>
                  <a:srgbClr val="2DB035"/>
                </a:solidFill>
              </a:defRPr>
            </a:lvl1pPr>
          </a:lstStyle>
          <a:p>
            <a:pPr lvl="0"/>
            <a:r>
              <a:rPr lang="en-US" dirty="0"/>
              <a:t>Title</a:t>
            </a:r>
          </a:p>
        </p:txBody>
      </p:sp>
      <p:sp>
        <p:nvSpPr>
          <p:cNvPr id="15" name="Text Placeholder 17">
            <a:extLst>
              <a:ext uri="{FF2B5EF4-FFF2-40B4-BE49-F238E27FC236}">
                <a16:creationId xmlns:a16="http://schemas.microsoft.com/office/drawing/2014/main" id="{58725C64-58C1-C647-8007-3192D245EC0E}"/>
              </a:ext>
            </a:extLst>
          </p:cNvPr>
          <p:cNvSpPr>
            <a:spLocks noGrp="1"/>
          </p:cNvSpPr>
          <p:nvPr>
            <p:ph type="body" sz="quarter" idx="26" hasCustomPrompt="1"/>
          </p:nvPr>
        </p:nvSpPr>
        <p:spPr>
          <a:xfrm>
            <a:off x="1747301" y="4754314"/>
            <a:ext cx="2458361"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19" name="Text Placeholder 20">
            <a:extLst>
              <a:ext uri="{FF2B5EF4-FFF2-40B4-BE49-F238E27FC236}">
                <a16:creationId xmlns:a16="http://schemas.microsoft.com/office/drawing/2014/main" id="{9830CAB6-1DBA-4F45-825F-3E754D8ECC53}"/>
              </a:ext>
            </a:extLst>
          </p:cNvPr>
          <p:cNvSpPr>
            <a:spLocks noGrp="1"/>
          </p:cNvSpPr>
          <p:nvPr>
            <p:ph type="body" sz="quarter" idx="27" hasCustomPrompt="1"/>
          </p:nvPr>
        </p:nvSpPr>
        <p:spPr>
          <a:xfrm>
            <a:off x="4758949" y="4193371"/>
            <a:ext cx="2458363" cy="457201"/>
          </a:xfrm>
        </p:spPr>
        <p:txBody>
          <a:bodyPr>
            <a:normAutofit/>
          </a:bodyPr>
          <a:lstStyle>
            <a:lvl1pPr algn="l">
              <a:buNone/>
              <a:defRPr sz="2000">
                <a:solidFill>
                  <a:srgbClr val="2DB035"/>
                </a:solidFill>
              </a:defRPr>
            </a:lvl1pPr>
          </a:lstStyle>
          <a:p>
            <a:pPr lvl="0"/>
            <a:r>
              <a:rPr lang="en-US" dirty="0"/>
              <a:t>Title</a:t>
            </a:r>
          </a:p>
        </p:txBody>
      </p:sp>
      <p:sp>
        <p:nvSpPr>
          <p:cNvPr id="20" name="Text Placeholder 17">
            <a:extLst>
              <a:ext uri="{FF2B5EF4-FFF2-40B4-BE49-F238E27FC236}">
                <a16:creationId xmlns:a16="http://schemas.microsoft.com/office/drawing/2014/main" id="{9EB02638-02FB-4747-A97D-017ABD746E17}"/>
              </a:ext>
            </a:extLst>
          </p:cNvPr>
          <p:cNvSpPr>
            <a:spLocks noGrp="1"/>
          </p:cNvSpPr>
          <p:nvPr>
            <p:ph type="body" sz="quarter" idx="28" hasCustomPrompt="1"/>
          </p:nvPr>
        </p:nvSpPr>
        <p:spPr>
          <a:xfrm>
            <a:off x="4758949" y="4754314"/>
            <a:ext cx="2458361"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21" name="Text Placeholder 20">
            <a:extLst>
              <a:ext uri="{FF2B5EF4-FFF2-40B4-BE49-F238E27FC236}">
                <a16:creationId xmlns:a16="http://schemas.microsoft.com/office/drawing/2014/main" id="{FF91FF1E-4743-B243-A99F-4021319D73A0}"/>
              </a:ext>
            </a:extLst>
          </p:cNvPr>
          <p:cNvSpPr>
            <a:spLocks noGrp="1"/>
          </p:cNvSpPr>
          <p:nvPr>
            <p:ph type="body" sz="quarter" idx="29" hasCustomPrompt="1"/>
          </p:nvPr>
        </p:nvSpPr>
        <p:spPr>
          <a:xfrm>
            <a:off x="7938376" y="4193371"/>
            <a:ext cx="2458363" cy="457201"/>
          </a:xfrm>
        </p:spPr>
        <p:txBody>
          <a:bodyPr>
            <a:normAutofit/>
          </a:bodyPr>
          <a:lstStyle>
            <a:lvl1pPr algn="l">
              <a:buNone/>
              <a:defRPr sz="2000">
                <a:solidFill>
                  <a:srgbClr val="2DB035"/>
                </a:solidFill>
              </a:defRPr>
            </a:lvl1pPr>
          </a:lstStyle>
          <a:p>
            <a:pPr lvl="0"/>
            <a:r>
              <a:rPr lang="en-US" dirty="0"/>
              <a:t>Title</a:t>
            </a:r>
          </a:p>
        </p:txBody>
      </p:sp>
      <p:sp>
        <p:nvSpPr>
          <p:cNvPr id="22" name="Text Placeholder 17">
            <a:extLst>
              <a:ext uri="{FF2B5EF4-FFF2-40B4-BE49-F238E27FC236}">
                <a16:creationId xmlns:a16="http://schemas.microsoft.com/office/drawing/2014/main" id="{0310DA06-7BF1-D34E-BAD8-B82702A2C7CF}"/>
              </a:ext>
            </a:extLst>
          </p:cNvPr>
          <p:cNvSpPr>
            <a:spLocks noGrp="1"/>
          </p:cNvSpPr>
          <p:nvPr>
            <p:ph type="body" sz="quarter" idx="30" hasCustomPrompt="1"/>
          </p:nvPr>
        </p:nvSpPr>
        <p:spPr>
          <a:xfrm>
            <a:off x="7938376" y="4754314"/>
            <a:ext cx="2458361"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4" name="Picture 3">
            <a:extLst>
              <a:ext uri="{FF2B5EF4-FFF2-40B4-BE49-F238E27FC236}">
                <a16:creationId xmlns:a16="http://schemas.microsoft.com/office/drawing/2014/main" id="{AFF7F8AE-52E9-9521-10A9-C4C42823B831}"/>
              </a:ext>
            </a:extLst>
          </p:cNvPr>
          <p:cNvPicPr>
            <a:picLocks noChangeAspect="1"/>
          </p:cNvPicPr>
          <p:nvPr userDrawn="1"/>
        </p:nvPicPr>
        <p:blipFill>
          <a:blip r:embed="rId5"/>
          <a:stretch>
            <a:fillRect/>
          </a:stretch>
        </p:blipFill>
        <p:spPr>
          <a:xfrm rot="10800000">
            <a:off x="9852053" y="-10186"/>
            <a:ext cx="2345323" cy="2910862"/>
          </a:xfrm>
          <a:prstGeom prst="rect">
            <a:avLst/>
          </a:prstGeom>
        </p:spPr>
      </p:pic>
      <p:pic>
        <p:nvPicPr>
          <p:cNvPr id="23" name="Picture 22" descr="A picture containing text, clipart&#10;&#10;Description automatically generated">
            <a:extLst>
              <a:ext uri="{FF2B5EF4-FFF2-40B4-BE49-F238E27FC236}">
                <a16:creationId xmlns:a16="http://schemas.microsoft.com/office/drawing/2014/main" id="{D33E08F4-3C14-4D41-B413-41EB0D9B0AA7}"/>
              </a:ext>
            </a:extLst>
          </p:cNvPr>
          <p:cNvPicPr>
            <a:picLocks noChangeAspect="1"/>
          </p:cNvPicPr>
          <p:nvPr userDrawn="1"/>
        </p:nvPicPr>
        <p:blipFill>
          <a:blip r:embed="rId6"/>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3737077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nside_Screenshot Slide_12">
    <p:spTree>
      <p:nvGrpSpPr>
        <p:cNvPr id="1" name=""/>
        <p:cNvGrpSpPr/>
        <p:nvPr/>
      </p:nvGrpSpPr>
      <p:grpSpPr>
        <a:xfrm>
          <a:off x="0" y="0"/>
          <a:ext cx="0" cy="0"/>
          <a:chOff x="0" y="0"/>
          <a:chExt cx="0" cy="0"/>
        </a:xfrm>
      </p:grpSpPr>
      <p:sp>
        <p:nvSpPr>
          <p:cNvPr id="42" name="Text Placeholder 20">
            <a:extLst>
              <a:ext uri="{FF2B5EF4-FFF2-40B4-BE49-F238E27FC236}">
                <a16:creationId xmlns:a16="http://schemas.microsoft.com/office/drawing/2014/main" id="{E7A24ADF-01D8-8D4E-BAE0-B3B86C48B6B8}"/>
              </a:ext>
            </a:extLst>
          </p:cNvPr>
          <p:cNvSpPr>
            <a:spLocks noGrp="1"/>
          </p:cNvSpPr>
          <p:nvPr>
            <p:ph type="body" sz="quarter" idx="24" hasCustomPrompt="1"/>
          </p:nvPr>
        </p:nvSpPr>
        <p:spPr>
          <a:xfrm>
            <a:off x="8777471" y="4288713"/>
            <a:ext cx="2812057" cy="457201"/>
          </a:xfrm>
        </p:spPr>
        <p:txBody>
          <a:bodyPr>
            <a:normAutofit/>
          </a:bodyPr>
          <a:lstStyle>
            <a:lvl1pPr algn="l">
              <a:buNone/>
              <a:defRPr sz="2000">
                <a:solidFill>
                  <a:srgbClr val="2DB035"/>
                </a:solidFill>
              </a:defRPr>
            </a:lvl1pPr>
          </a:lstStyle>
          <a:p>
            <a:pPr lvl="0"/>
            <a:r>
              <a:rPr lang="en-US" dirty="0"/>
              <a:t>Title</a:t>
            </a:r>
          </a:p>
        </p:txBody>
      </p:sp>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31" name="Text Placeholder 20">
            <a:extLst>
              <a:ext uri="{FF2B5EF4-FFF2-40B4-BE49-F238E27FC236}">
                <a16:creationId xmlns:a16="http://schemas.microsoft.com/office/drawing/2014/main" id="{19FEC3F7-3BC4-564C-B588-28E949D0777E}"/>
              </a:ext>
            </a:extLst>
          </p:cNvPr>
          <p:cNvSpPr>
            <a:spLocks noGrp="1"/>
          </p:cNvSpPr>
          <p:nvPr>
            <p:ph type="body" sz="quarter" idx="18" hasCustomPrompt="1"/>
          </p:nvPr>
        </p:nvSpPr>
        <p:spPr>
          <a:xfrm>
            <a:off x="771401" y="2156535"/>
            <a:ext cx="2812057" cy="457201"/>
          </a:xfrm>
        </p:spPr>
        <p:txBody>
          <a:bodyPr>
            <a:normAutofit/>
          </a:bodyPr>
          <a:lstStyle>
            <a:lvl1pPr algn="l">
              <a:buNone/>
              <a:defRPr sz="2000">
                <a:solidFill>
                  <a:srgbClr val="2DB035"/>
                </a:solidFill>
              </a:defRPr>
            </a:lvl1pPr>
          </a:lstStyle>
          <a:p>
            <a:pPr lvl="0"/>
            <a:r>
              <a:rPr lang="en-US" dirty="0"/>
              <a:t>Title</a:t>
            </a:r>
          </a:p>
        </p:txBody>
      </p:sp>
      <p:sp>
        <p:nvSpPr>
          <p:cNvPr id="35" name="Text Placeholder 20">
            <a:extLst>
              <a:ext uri="{FF2B5EF4-FFF2-40B4-BE49-F238E27FC236}">
                <a16:creationId xmlns:a16="http://schemas.microsoft.com/office/drawing/2014/main" id="{6AF3AB43-8422-724B-9BCA-20BD4B85F720}"/>
              </a:ext>
            </a:extLst>
          </p:cNvPr>
          <p:cNvSpPr>
            <a:spLocks noGrp="1"/>
          </p:cNvSpPr>
          <p:nvPr>
            <p:ph type="body" sz="quarter" idx="20" hasCustomPrompt="1"/>
          </p:nvPr>
        </p:nvSpPr>
        <p:spPr>
          <a:xfrm>
            <a:off x="771401" y="4288713"/>
            <a:ext cx="2812057" cy="457201"/>
          </a:xfrm>
        </p:spPr>
        <p:txBody>
          <a:bodyPr>
            <a:normAutofit/>
          </a:bodyPr>
          <a:lstStyle>
            <a:lvl1pPr algn="l">
              <a:buNone/>
              <a:defRPr sz="2000">
                <a:solidFill>
                  <a:srgbClr val="2DB035"/>
                </a:solidFill>
              </a:defRPr>
            </a:lvl1pPr>
          </a:lstStyle>
          <a:p>
            <a:pPr lvl="0"/>
            <a:r>
              <a:rPr lang="en-US" dirty="0"/>
              <a:t>Title</a:t>
            </a:r>
          </a:p>
        </p:txBody>
      </p:sp>
      <p:sp>
        <p:nvSpPr>
          <p:cNvPr id="39" name="Text Placeholder 20">
            <a:extLst>
              <a:ext uri="{FF2B5EF4-FFF2-40B4-BE49-F238E27FC236}">
                <a16:creationId xmlns:a16="http://schemas.microsoft.com/office/drawing/2014/main" id="{68F467D9-7E2D-4746-962A-B2D3B5C1322F}"/>
              </a:ext>
            </a:extLst>
          </p:cNvPr>
          <p:cNvSpPr>
            <a:spLocks noGrp="1"/>
          </p:cNvSpPr>
          <p:nvPr>
            <p:ph type="body" sz="quarter" idx="22" hasCustomPrompt="1"/>
          </p:nvPr>
        </p:nvSpPr>
        <p:spPr>
          <a:xfrm>
            <a:off x="8777471" y="2156535"/>
            <a:ext cx="2812057" cy="457201"/>
          </a:xfrm>
        </p:spPr>
        <p:txBody>
          <a:bodyPr>
            <a:normAutofit/>
          </a:bodyPr>
          <a:lstStyle>
            <a:lvl1pPr algn="l">
              <a:buNone/>
              <a:defRPr sz="2000">
                <a:solidFill>
                  <a:srgbClr val="2DB035"/>
                </a:solidFill>
              </a:defRPr>
            </a:lvl1pPr>
          </a:lstStyle>
          <a:p>
            <a:pPr lvl="0"/>
            <a:r>
              <a:rPr lang="en-US" dirty="0"/>
              <a:t>Title</a:t>
            </a:r>
          </a:p>
        </p:txBody>
      </p:sp>
      <p:sp>
        <p:nvSpPr>
          <p:cNvPr id="44" name="Picture Placeholder 2">
            <a:extLst>
              <a:ext uri="{FF2B5EF4-FFF2-40B4-BE49-F238E27FC236}">
                <a16:creationId xmlns:a16="http://schemas.microsoft.com/office/drawing/2014/main" id="{95A40B59-B48A-1E4B-BC30-C84CD316F2A3}"/>
              </a:ext>
            </a:extLst>
          </p:cNvPr>
          <p:cNvSpPr>
            <a:spLocks noGrp="1"/>
          </p:cNvSpPr>
          <p:nvPr>
            <p:ph type="pic" sz="quarter" idx="17"/>
          </p:nvPr>
        </p:nvSpPr>
        <p:spPr>
          <a:xfrm>
            <a:off x="4150502" y="2095952"/>
            <a:ext cx="4059923" cy="3966519"/>
          </a:xfrm>
          <a:prstGeom prst="roundRect">
            <a:avLst/>
          </a:prstGeom>
          <a:solidFill>
            <a:schemeClr val="bg2">
              <a:lumMod val="75000"/>
            </a:schemeClr>
          </a:solidFill>
        </p:spPr>
        <p:txBody>
          <a:bodyPr/>
          <a:lstStyle/>
          <a:p>
            <a:endParaRPr lang="en-MX"/>
          </a:p>
        </p:txBody>
      </p:sp>
      <p:sp>
        <p:nvSpPr>
          <p:cNvPr id="45" name="Text Placeholder 17">
            <a:extLst>
              <a:ext uri="{FF2B5EF4-FFF2-40B4-BE49-F238E27FC236}">
                <a16:creationId xmlns:a16="http://schemas.microsoft.com/office/drawing/2014/main" id="{5422DFD7-D428-0F4D-BE50-4873B09EEFB0}"/>
              </a:ext>
            </a:extLst>
          </p:cNvPr>
          <p:cNvSpPr>
            <a:spLocks noGrp="1"/>
          </p:cNvSpPr>
          <p:nvPr>
            <p:ph type="body" sz="quarter" idx="26" hasCustomPrompt="1"/>
          </p:nvPr>
        </p:nvSpPr>
        <p:spPr>
          <a:xfrm>
            <a:off x="771401" y="2717478"/>
            <a:ext cx="2812055"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46" name="Text Placeholder 17">
            <a:extLst>
              <a:ext uri="{FF2B5EF4-FFF2-40B4-BE49-F238E27FC236}">
                <a16:creationId xmlns:a16="http://schemas.microsoft.com/office/drawing/2014/main" id="{76C3D5E0-2FA4-F945-A0E2-ABAAD480019C}"/>
              </a:ext>
            </a:extLst>
          </p:cNvPr>
          <p:cNvSpPr>
            <a:spLocks noGrp="1"/>
          </p:cNvSpPr>
          <p:nvPr>
            <p:ph type="body" sz="quarter" idx="27" hasCustomPrompt="1"/>
          </p:nvPr>
        </p:nvSpPr>
        <p:spPr>
          <a:xfrm>
            <a:off x="771401" y="4866318"/>
            <a:ext cx="2812055"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47" name="Text Placeholder 17">
            <a:extLst>
              <a:ext uri="{FF2B5EF4-FFF2-40B4-BE49-F238E27FC236}">
                <a16:creationId xmlns:a16="http://schemas.microsoft.com/office/drawing/2014/main" id="{45D00CD3-57DC-2943-846C-2127DA289612}"/>
              </a:ext>
            </a:extLst>
          </p:cNvPr>
          <p:cNvSpPr>
            <a:spLocks noGrp="1"/>
          </p:cNvSpPr>
          <p:nvPr>
            <p:ph type="body" sz="quarter" idx="28" hasCustomPrompt="1"/>
          </p:nvPr>
        </p:nvSpPr>
        <p:spPr>
          <a:xfrm>
            <a:off x="8772401" y="2717478"/>
            <a:ext cx="2812055"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sp>
        <p:nvSpPr>
          <p:cNvPr id="48" name="Text Placeholder 17">
            <a:extLst>
              <a:ext uri="{FF2B5EF4-FFF2-40B4-BE49-F238E27FC236}">
                <a16:creationId xmlns:a16="http://schemas.microsoft.com/office/drawing/2014/main" id="{2825D357-2AA0-5F4D-8852-FFB37AFAE2C0}"/>
              </a:ext>
            </a:extLst>
          </p:cNvPr>
          <p:cNvSpPr>
            <a:spLocks noGrp="1"/>
          </p:cNvSpPr>
          <p:nvPr>
            <p:ph type="body" sz="quarter" idx="29" hasCustomPrompt="1"/>
          </p:nvPr>
        </p:nvSpPr>
        <p:spPr>
          <a:xfrm>
            <a:off x="8772401" y="4866318"/>
            <a:ext cx="2812055" cy="1222975"/>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3" name="Picture 12" descr="A picture containing text, clipart&#10;&#10;Description automatically generated">
            <a:extLst>
              <a:ext uri="{FF2B5EF4-FFF2-40B4-BE49-F238E27FC236}">
                <a16:creationId xmlns:a16="http://schemas.microsoft.com/office/drawing/2014/main" id="{F48980C4-0A2E-4557-3D13-F233AEAB66DA}"/>
              </a:ext>
            </a:extLst>
          </p:cNvPr>
          <p:cNvPicPr>
            <a:picLocks noChangeAspect="1"/>
          </p:cNvPicPr>
          <p:nvPr userDrawn="1"/>
        </p:nvPicPr>
        <p:blipFill>
          <a:blip r:embed="rId2"/>
          <a:stretch>
            <a:fillRect/>
          </a:stretch>
        </p:blipFill>
        <p:spPr>
          <a:xfrm>
            <a:off x="10133703" y="6325250"/>
            <a:ext cx="1738361" cy="194422"/>
          </a:xfrm>
          <a:prstGeom prst="rect">
            <a:avLst/>
          </a:prstGeom>
        </p:spPr>
      </p:pic>
      <p:pic>
        <p:nvPicPr>
          <p:cNvPr id="3" name="Picture 2" descr="Icon&#10;&#10;Description automatically generated with medium confidence">
            <a:extLst>
              <a:ext uri="{FF2B5EF4-FFF2-40B4-BE49-F238E27FC236}">
                <a16:creationId xmlns:a16="http://schemas.microsoft.com/office/drawing/2014/main" id="{807EDA6F-9406-9FA7-C78D-058AB304B3E0}"/>
              </a:ext>
            </a:extLst>
          </p:cNvPr>
          <p:cNvPicPr>
            <a:picLocks noChangeAspect="1"/>
          </p:cNvPicPr>
          <p:nvPr userDrawn="1"/>
        </p:nvPicPr>
        <p:blipFill>
          <a:blip r:embed="rId3"/>
          <a:stretch>
            <a:fillRect/>
          </a:stretch>
        </p:blipFill>
        <p:spPr>
          <a:xfrm>
            <a:off x="8884334" y="0"/>
            <a:ext cx="3307666" cy="3028998"/>
          </a:xfrm>
          <a:prstGeom prst="rect">
            <a:avLst/>
          </a:prstGeom>
        </p:spPr>
      </p:pic>
    </p:spTree>
    <p:extLst>
      <p:ext uri="{BB962C8B-B14F-4D97-AF65-F5344CB8AC3E}">
        <p14:creationId xmlns:p14="http://schemas.microsoft.com/office/powerpoint/2010/main" val="10622126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nside_Pictures/Screenshots Slide_13">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3" name="Picture Placeholder 2">
            <a:extLst>
              <a:ext uri="{FF2B5EF4-FFF2-40B4-BE49-F238E27FC236}">
                <a16:creationId xmlns:a16="http://schemas.microsoft.com/office/drawing/2014/main" id="{01DB6509-269A-C64D-9AFB-5FFD0C152EAA}"/>
              </a:ext>
            </a:extLst>
          </p:cNvPr>
          <p:cNvSpPr>
            <a:spLocks noGrp="1"/>
          </p:cNvSpPr>
          <p:nvPr>
            <p:ph type="pic" sz="quarter" idx="17"/>
          </p:nvPr>
        </p:nvSpPr>
        <p:spPr>
          <a:xfrm>
            <a:off x="1502286" y="1822794"/>
            <a:ext cx="2924770" cy="3966519"/>
          </a:xfrm>
          <a:prstGeom prst="roundRect">
            <a:avLst/>
          </a:prstGeom>
          <a:solidFill>
            <a:schemeClr val="bg2">
              <a:lumMod val="75000"/>
            </a:schemeClr>
          </a:solidFill>
        </p:spPr>
        <p:txBody>
          <a:bodyPr/>
          <a:lstStyle/>
          <a:p>
            <a:endParaRPr lang="en-MX"/>
          </a:p>
        </p:txBody>
      </p:sp>
      <p:sp>
        <p:nvSpPr>
          <p:cNvPr id="16" name="Picture Placeholder 2">
            <a:extLst>
              <a:ext uri="{FF2B5EF4-FFF2-40B4-BE49-F238E27FC236}">
                <a16:creationId xmlns:a16="http://schemas.microsoft.com/office/drawing/2014/main" id="{3D5A1D94-5D6C-0C49-8251-561DD21D6751}"/>
              </a:ext>
            </a:extLst>
          </p:cNvPr>
          <p:cNvSpPr>
            <a:spLocks noGrp="1"/>
          </p:cNvSpPr>
          <p:nvPr>
            <p:ph type="pic" sz="quarter" idx="18"/>
          </p:nvPr>
        </p:nvSpPr>
        <p:spPr>
          <a:xfrm>
            <a:off x="4626877" y="1822794"/>
            <a:ext cx="2924770" cy="3966519"/>
          </a:xfrm>
          <a:prstGeom prst="roundRect">
            <a:avLst/>
          </a:prstGeom>
          <a:solidFill>
            <a:schemeClr val="bg2">
              <a:lumMod val="75000"/>
            </a:schemeClr>
          </a:solidFill>
        </p:spPr>
        <p:txBody>
          <a:bodyPr/>
          <a:lstStyle/>
          <a:p>
            <a:endParaRPr lang="en-MX"/>
          </a:p>
        </p:txBody>
      </p:sp>
      <p:sp>
        <p:nvSpPr>
          <p:cNvPr id="18" name="Picture Placeholder 2">
            <a:extLst>
              <a:ext uri="{FF2B5EF4-FFF2-40B4-BE49-F238E27FC236}">
                <a16:creationId xmlns:a16="http://schemas.microsoft.com/office/drawing/2014/main" id="{6FE3EEE3-CDF1-5344-A174-2033297C5642}"/>
              </a:ext>
            </a:extLst>
          </p:cNvPr>
          <p:cNvSpPr>
            <a:spLocks noGrp="1"/>
          </p:cNvSpPr>
          <p:nvPr>
            <p:ph type="pic" sz="quarter" idx="19"/>
          </p:nvPr>
        </p:nvSpPr>
        <p:spPr>
          <a:xfrm>
            <a:off x="7751468" y="1822794"/>
            <a:ext cx="2924770" cy="3966519"/>
          </a:xfrm>
          <a:prstGeom prst="roundRect">
            <a:avLst/>
          </a:prstGeom>
          <a:solidFill>
            <a:schemeClr val="bg2">
              <a:lumMod val="75000"/>
            </a:schemeClr>
          </a:solidFill>
        </p:spPr>
        <p:txBody>
          <a:bodyPr/>
          <a:lstStyle/>
          <a:p>
            <a:endParaRPr lang="en-MX"/>
          </a:p>
        </p:txBody>
      </p:sp>
      <p:pic>
        <p:nvPicPr>
          <p:cNvPr id="14" name="Picture 13">
            <a:extLst>
              <a:ext uri="{FF2B5EF4-FFF2-40B4-BE49-F238E27FC236}">
                <a16:creationId xmlns:a16="http://schemas.microsoft.com/office/drawing/2014/main" id="{B4755BAB-DADD-1C42-857B-FE0FF76143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8565" y="2040843"/>
            <a:ext cx="274320" cy="274320"/>
          </a:xfrm>
          <a:prstGeom prst="rect">
            <a:avLst/>
          </a:prstGeom>
        </p:spPr>
      </p:pic>
      <p:pic>
        <p:nvPicPr>
          <p:cNvPr id="15" name="Picture 14">
            <a:extLst>
              <a:ext uri="{FF2B5EF4-FFF2-40B4-BE49-F238E27FC236}">
                <a16:creationId xmlns:a16="http://schemas.microsoft.com/office/drawing/2014/main" id="{B128BCEE-5083-3D41-ACE1-EC75610890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1072" y="4867576"/>
            <a:ext cx="551514" cy="551514"/>
          </a:xfrm>
          <a:prstGeom prst="rect">
            <a:avLst/>
          </a:prstGeom>
        </p:spPr>
      </p:pic>
      <p:pic>
        <p:nvPicPr>
          <p:cNvPr id="19" name="Picture 18">
            <a:extLst>
              <a:ext uri="{FF2B5EF4-FFF2-40B4-BE49-F238E27FC236}">
                <a16:creationId xmlns:a16="http://schemas.microsoft.com/office/drawing/2014/main" id="{E672BA33-3C1A-ED40-9FC5-E0008CECE3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81489" y="2040843"/>
            <a:ext cx="294449" cy="294449"/>
          </a:xfrm>
          <a:prstGeom prst="rect">
            <a:avLst/>
          </a:prstGeom>
        </p:spPr>
      </p:pic>
      <p:pic>
        <p:nvPicPr>
          <p:cNvPr id="21" name="Picture 20">
            <a:extLst>
              <a:ext uri="{FF2B5EF4-FFF2-40B4-BE49-F238E27FC236}">
                <a16:creationId xmlns:a16="http://schemas.microsoft.com/office/drawing/2014/main" id="{0BE409BA-0F3D-6B4B-897E-43C668742BE6}"/>
              </a:ext>
            </a:extLst>
          </p:cNvPr>
          <p:cNvPicPr>
            <a:picLocks noChangeAspect="1"/>
          </p:cNvPicPr>
          <p:nvPr userDrawn="1"/>
        </p:nvPicPr>
        <p:blipFill>
          <a:blip r:embed="rId3"/>
          <a:stretch>
            <a:fillRect/>
          </a:stretch>
        </p:blipFill>
        <p:spPr>
          <a:xfrm>
            <a:off x="11274278" y="2698573"/>
            <a:ext cx="458313" cy="458313"/>
          </a:xfrm>
          <a:prstGeom prst="rect">
            <a:avLst/>
          </a:prstGeom>
        </p:spPr>
      </p:pic>
      <p:pic>
        <p:nvPicPr>
          <p:cNvPr id="22" name="Picture 21">
            <a:extLst>
              <a:ext uri="{FF2B5EF4-FFF2-40B4-BE49-F238E27FC236}">
                <a16:creationId xmlns:a16="http://schemas.microsoft.com/office/drawing/2014/main" id="{57481A67-4BED-5840-9B80-D4E33A5D064C}"/>
              </a:ext>
            </a:extLst>
          </p:cNvPr>
          <p:cNvPicPr>
            <a:picLocks noChangeAspect="1"/>
          </p:cNvPicPr>
          <p:nvPr userDrawn="1"/>
        </p:nvPicPr>
        <p:blipFill>
          <a:blip r:embed="rId4"/>
          <a:stretch>
            <a:fillRect/>
          </a:stretch>
        </p:blipFill>
        <p:spPr>
          <a:xfrm>
            <a:off x="10876100" y="4499109"/>
            <a:ext cx="371020" cy="371020"/>
          </a:xfrm>
          <a:prstGeom prst="rect">
            <a:avLst/>
          </a:prstGeom>
        </p:spPr>
      </p:pic>
      <p:pic>
        <p:nvPicPr>
          <p:cNvPr id="23" name="Picture 22">
            <a:extLst>
              <a:ext uri="{FF2B5EF4-FFF2-40B4-BE49-F238E27FC236}">
                <a16:creationId xmlns:a16="http://schemas.microsoft.com/office/drawing/2014/main" id="{D94B483F-2152-F54C-96A1-0B7DEFEB8B80}"/>
              </a:ext>
            </a:extLst>
          </p:cNvPr>
          <p:cNvPicPr>
            <a:picLocks noChangeAspect="1"/>
          </p:cNvPicPr>
          <p:nvPr userDrawn="1"/>
        </p:nvPicPr>
        <p:blipFill>
          <a:blip r:embed="rId4"/>
          <a:stretch>
            <a:fillRect/>
          </a:stretch>
        </p:blipFill>
        <p:spPr>
          <a:xfrm>
            <a:off x="766102" y="3026928"/>
            <a:ext cx="371020" cy="371020"/>
          </a:xfrm>
          <a:prstGeom prst="rect">
            <a:avLst/>
          </a:prstGeom>
        </p:spPr>
      </p:pic>
      <p:pic>
        <p:nvPicPr>
          <p:cNvPr id="24" name="Picture 23" descr="A picture containing text, clipart&#10;&#10;Description automatically generated">
            <a:extLst>
              <a:ext uri="{FF2B5EF4-FFF2-40B4-BE49-F238E27FC236}">
                <a16:creationId xmlns:a16="http://schemas.microsoft.com/office/drawing/2014/main" id="{9F75232D-4E4A-9F4A-2E62-60AC02EC2B4E}"/>
              </a:ext>
            </a:extLst>
          </p:cNvPr>
          <p:cNvPicPr>
            <a:picLocks noChangeAspect="1"/>
          </p:cNvPicPr>
          <p:nvPr userDrawn="1"/>
        </p:nvPicPr>
        <p:blipFill>
          <a:blip r:embed="rId5"/>
          <a:stretch>
            <a:fillRect/>
          </a:stretch>
        </p:blipFill>
        <p:spPr>
          <a:xfrm>
            <a:off x="10133703" y="6325250"/>
            <a:ext cx="1738361" cy="194422"/>
          </a:xfrm>
          <a:prstGeom prst="rect">
            <a:avLst/>
          </a:prstGeom>
        </p:spPr>
      </p:pic>
      <p:pic>
        <p:nvPicPr>
          <p:cNvPr id="4" name="Picture 3" descr="Arrow&#10;&#10;Description automatically generated with medium confidence">
            <a:extLst>
              <a:ext uri="{FF2B5EF4-FFF2-40B4-BE49-F238E27FC236}">
                <a16:creationId xmlns:a16="http://schemas.microsoft.com/office/drawing/2014/main" id="{33A8E7CF-C22A-B81B-E4AE-C46AD0C9C2F8}"/>
              </a:ext>
            </a:extLst>
          </p:cNvPr>
          <p:cNvPicPr>
            <a:picLocks noChangeAspect="1"/>
          </p:cNvPicPr>
          <p:nvPr userDrawn="1"/>
        </p:nvPicPr>
        <p:blipFill>
          <a:blip r:embed="rId6"/>
          <a:stretch>
            <a:fillRect/>
          </a:stretch>
        </p:blipFill>
        <p:spPr>
          <a:xfrm>
            <a:off x="0" y="4649568"/>
            <a:ext cx="1790700" cy="2222500"/>
          </a:xfrm>
          <a:prstGeom prst="rect">
            <a:avLst/>
          </a:prstGeom>
        </p:spPr>
      </p:pic>
    </p:spTree>
    <p:extLst>
      <p:ext uri="{BB962C8B-B14F-4D97-AF65-F5344CB8AC3E}">
        <p14:creationId xmlns:p14="http://schemas.microsoft.com/office/powerpoint/2010/main" val="37008080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side_Pictures/Screenshots Slide_14">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60" name="Picture 59">
            <a:extLst>
              <a:ext uri="{FF2B5EF4-FFF2-40B4-BE49-F238E27FC236}">
                <a16:creationId xmlns:a16="http://schemas.microsoft.com/office/drawing/2014/main" id="{13B914A7-98FE-E14F-8007-065304D208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61" name="Picture 60">
            <a:extLst>
              <a:ext uri="{FF2B5EF4-FFF2-40B4-BE49-F238E27FC236}">
                <a16:creationId xmlns:a16="http://schemas.microsoft.com/office/drawing/2014/main" id="{5657CDD1-A733-D743-8A91-9074CD36E3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2681162"/>
            <a:ext cx="294449" cy="294449"/>
          </a:xfrm>
          <a:prstGeom prst="rect">
            <a:avLst/>
          </a:prstGeom>
        </p:spPr>
      </p:pic>
      <p:pic>
        <p:nvPicPr>
          <p:cNvPr id="62" name="Picture 61">
            <a:extLst>
              <a:ext uri="{FF2B5EF4-FFF2-40B4-BE49-F238E27FC236}">
                <a16:creationId xmlns:a16="http://schemas.microsoft.com/office/drawing/2014/main" id="{43434D98-B944-AE4E-BA56-0B1CB927F1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5987233"/>
            <a:ext cx="294449" cy="294449"/>
          </a:xfrm>
          <a:prstGeom prst="rect">
            <a:avLst/>
          </a:prstGeom>
        </p:spPr>
      </p:pic>
      <p:pic>
        <p:nvPicPr>
          <p:cNvPr id="63" name="Picture 62">
            <a:extLst>
              <a:ext uri="{FF2B5EF4-FFF2-40B4-BE49-F238E27FC236}">
                <a16:creationId xmlns:a16="http://schemas.microsoft.com/office/drawing/2014/main" id="{D548B2B8-7234-5F4E-A020-6CDA473AD2B0}"/>
              </a:ext>
            </a:extLst>
          </p:cNvPr>
          <p:cNvPicPr>
            <a:picLocks noChangeAspect="1"/>
          </p:cNvPicPr>
          <p:nvPr userDrawn="1"/>
        </p:nvPicPr>
        <p:blipFill>
          <a:blip r:embed="rId3"/>
          <a:stretch>
            <a:fillRect/>
          </a:stretch>
        </p:blipFill>
        <p:spPr>
          <a:xfrm>
            <a:off x="388921" y="5189632"/>
            <a:ext cx="508000" cy="508000"/>
          </a:xfrm>
          <a:prstGeom prst="rect">
            <a:avLst/>
          </a:prstGeom>
        </p:spPr>
      </p:pic>
      <p:pic>
        <p:nvPicPr>
          <p:cNvPr id="64" name="Picture 63">
            <a:extLst>
              <a:ext uri="{FF2B5EF4-FFF2-40B4-BE49-F238E27FC236}">
                <a16:creationId xmlns:a16="http://schemas.microsoft.com/office/drawing/2014/main" id="{6CA4A867-58DC-CE46-91B9-CBF1B233ABF9}"/>
              </a:ext>
            </a:extLst>
          </p:cNvPr>
          <p:cNvPicPr>
            <a:picLocks noChangeAspect="1"/>
          </p:cNvPicPr>
          <p:nvPr userDrawn="1"/>
        </p:nvPicPr>
        <p:blipFill>
          <a:blip r:embed="rId3"/>
          <a:stretch>
            <a:fillRect/>
          </a:stretch>
        </p:blipFill>
        <p:spPr>
          <a:xfrm>
            <a:off x="11021657" y="2462723"/>
            <a:ext cx="508000" cy="508000"/>
          </a:xfrm>
          <a:prstGeom prst="rect">
            <a:avLst/>
          </a:prstGeom>
        </p:spPr>
      </p:pic>
      <p:pic>
        <p:nvPicPr>
          <p:cNvPr id="65" name="Picture 64">
            <a:extLst>
              <a:ext uri="{FF2B5EF4-FFF2-40B4-BE49-F238E27FC236}">
                <a16:creationId xmlns:a16="http://schemas.microsoft.com/office/drawing/2014/main" id="{091AFAA1-254B-3447-8A32-01C6BB65E13D}"/>
              </a:ext>
            </a:extLst>
          </p:cNvPr>
          <p:cNvPicPr>
            <a:picLocks noChangeAspect="1"/>
          </p:cNvPicPr>
          <p:nvPr userDrawn="1"/>
        </p:nvPicPr>
        <p:blipFill>
          <a:blip r:embed="rId4"/>
          <a:stretch>
            <a:fillRect/>
          </a:stretch>
        </p:blipFill>
        <p:spPr>
          <a:xfrm>
            <a:off x="11339642" y="3178778"/>
            <a:ext cx="380030" cy="380030"/>
          </a:xfrm>
          <a:prstGeom prst="rect">
            <a:avLst/>
          </a:prstGeom>
        </p:spPr>
      </p:pic>
      <p:sp>
        <p:nvSpPr>
          <p:cNvPr id="3" name="Picture Placeholder 2">
            <a:extLst>
              <a:ext uri="{FF2B5EF4-FFF2-40B4-BE49-F238E27FC236}">
                <a16:creationId xmlns:a16="http://schemas.microsoft.com/office/drawing/2014/main" id="{01DB6509-269A-C64D-9AFB-5FFD0C152EAA}"/>
              </a:ext>
            </a:extLst>
          </p:cNvPr>
          <p:cNvSpPr>
            <a:spLocks noGrp="1"/>
          </p:cNvSpPr>
          <p:nvPr>
            <p:ph type="pic" sz="quarter" idx="17"/>
          </p:nvPr>
        </p:nvSpPr>
        <p:spPr>
          <a:xfrm>
            <a:off x="1361476" y="2028205"/>
            <a:ext cx="4059923" cy="3966519"/>
          </a:xfrm>
          <a:prstGeom prst="roundRect">
            <a:avLst/>
          </a:prstGeom>
          <a:solidFill>
            <a:schemeClr val="bg2">
              <a:lumMod val="75000"/>
            </a:schemeClr>
          </a:solidFill>
        </p:spPr>
        <p:txBody>
          <a:bodyPr/>
          <a:lstStyle/>
          <a:p>
            <a:endParaRPr lang="en-MX"/>
          </a:p>
        </p:txBody>
      </p:sp>
      <p:sp>
        <p:nvSpPr>
          <p:cNvPr id="16" name="Picture Placeholder 2">
            <a:extLst>
              <a:ext uri="{FF2B5EF4-FFF2-40B4-BE49-F238E27FC236}">
                <a16:creationId xmlns:a16="http://schemas.microsoft.com/office/drawing/2014/main" id="{3D5A1D94-5D6C-0C49-8251-561DD21D6751}"/>
              </a:ext>
            </a:extLst>
          </p:cNvPr>
          <p:cNvSpPr>
            <a:spLocks noGrp="1"/>
          </p:cNvSpPr>
          <p:nvPr>
            <p:ph type="pic" sz="quarter" idx="18"/>
          </p:nvPr>
        </p:nvSpPr>
        <p:spPr>
          <a:xfrm>
            <a:off x="5820596" y="2028205"/>
            <a:ext cx="4961968" cy="3966519"/>
          </a:xfrm>
          <a:prstGeom prst="roundRect">
            <a:avLst/>
          </a:prstGeom>
          <a:solidFill>
            <a:schemeClr val="bg2">
              <a:lumMod val="75000"/>
            </a:schemeClr>
          </a:solidFill>
        </p:spPr>
        <p:txBody>
          <a:bodyPr/>
          <a:lstStyle/>
          <a:p>
            <a:endParaRPr lang="en-MX"/>
          </a:p>
        </p:txBody>
      </p:sp>
      <p:pic>
        <p:nvPicPr>
          <p:cNvPr id="4" name="Picture 3" descr="Shape&#10;&#10;Description automatically generated">
            <a:extLst>
              <a:ext uri="{FF2B5EF4-FFF2-40B4-BE49-F238E27FC236}">
                <a16:creationId xmlns:a16="http://schemas.microsoft.com/office/drawing/2014/main" id="{F1942377-1C85-898B-1381-ED155BA261F4}"/>
              </a:ext>
            </a:extLst>
          </p:cNvPr>
          <p:cNvPicPr>
            <a:picLocks noChangeAspect="1"/>
          </p:cNvPicPr>
          <p:nvPr userDrawn="1"/>
        </p:nvPicPr>
        <p:blipFill>
          <a:blip r:embed="rId5"/>
          <a:stretch>
            <a:fillRect/>
          </a:stretch>
        </p:blipFill>
        <p:spPr>
          <a:xfrm rot="10800000">
            <a:off x="4383630" y="0"/>
            <a:ext cx="7835900" cy="4445000"/>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5ADF993F-2CD0-6C2F-54E4-BB7E65A39A92}"/>
              </a:ext>
            </a:extLst>
          </p:cNvPr>
          <p:cNvPicPr>
            <a:picLocks noChangeAspect="1"/>
          </p:cNvPicPr>
          <p:nvPr userDrawn="1"/>
        </p:nvPicPr>
        <p:blipFill>
          <a:blip r:embed="rId6"/>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12647697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nside_Picture/Screenshot Slide_15">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rgbClr val="41A928"/>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tx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6" name="Picture Placeholder 2">
            <a:extLst>
              <a:ext uri="{FF2B5EF4-FFF2-40B4-BE49-F238E27FC236}">
                <a16:creationId xmlns:a16="http://schemas.microsoft.com/office/drawing/2014/main" id="{3D5A1D94-5D6C-0C49-8251-561DD21D6751}"/>
              </a:ext>
            </a:extLst>
          </p:cNvPr>
          <p:cNvSpPr>
            <a:spLocks noGrp="1"/>
          </p:cNvSpPr>
          <p:nvPr>
            <p:ph type="pic" sz="quarter" idx="18"/>
          </p:nvPr>
        </p:nvSpPr>
        <p:spPr>
          <a:xfrm>
            <a:off x="1841305" y="1847505"/>
            <a:ext cx="8462858" cy="3818959"/>
          </a:xfrm>
          <a:prstGeom prst="roundRect">
            <a:avLst/>
          </a:prstGeom>
          <a:solidFill>
            <a:schemeClr val="bg2">
              <a:lumMod val="75000"/>
            </a:schemeClr>
          </a:solidFill>
        </p:spPr>
        <p:txBody>
          <a:bodyPr/>
          <a:lstStyle/>
          <a:p>
            <a:endParaRPr lang="en-MX"/>
          </a:p>
        </p:txBody>
      </p:sp>
      <p:pic>
        <p:nvPicPr>
          <p:cNvPr id="12" name="Picture 11">
            <a:extLst>
              <a:ext uri="{FF2B5EF4-FFF2-40B4-BE49-F238E27FC236}">
                <a16:creationId xmlns:a16="http://schemas.microsoft.com/office/drawing/2014/main" id="{99E2EF91-5931-0548-BC7F-74B4069802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13" name="Picture 12">
            <a:extLst>
              <a:ext uri="{FF2B5EF4-FFF2-40B4-BE49-F238E27FC236}">
                <a16:creationId xmlns:a16="http://schemas.microsoft.com/office/drawing/2014/main" id="{C5D706C6-7EB1-304C-907B-B0E47DB9D3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624" y="2144368"/>
            <a:ext cx="294449" cy="294449"/>
          </a:xfrm>
          <a:prstGeom prst="rect">
            <a:avLst/>
          </a:prstGeom>
        </p:spPr>
      </p:pic>
      <p:pic>
        <p:nvPicPr>
          <p:cNvPr id="14" name="Picture 13">
            <a:extLst>
              <a:ext uri="{FF2B5EF4-FFF2-40B4-BE49-F238E27FC236}">
                <a16:creationId xmlns:a16="http://schemas.microsoft.com/office/drawing/2014/main" id="{16670D06-8E24-324E-804E-14042AE8DD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3811" y="4964872"/>
            <a:ext cx="294449" cy="294449"/>
          </a:xfrm>
          <a:prstGeom prst="rect">
            <a:avLst/>
          </a:prstGeom>
        </p:spPr>
      </p:pic>
      <p:pic>
        <p:nvPicPr>
          <p:cNvPr id="15" name="Picture 14">
            <a:extLst>
              <a:ext uri="{FF2B5EF4-FFF2-40B4-BE49-F238E27FC236}">
                <a16:creationId xmlns:a16="http://schemas.microsoft.com/office/drawing/2014/main" id="{C8142170-4F8D-9A4F-A1D5-B42CB406F92C}"/>
              </a:ext>
            </a:extLst>
          </p:cNvPr>
          <p:cNvPicPr>
            <a:picLocks noChangeAspect="1"/>
          </p:cNvPicPr>
          <p:nvPr userDrawn="1"/>
        </p:nvPicPr>
        <p:blipFill>
          <a:blip r:embed="rId3"/>
          <a:stretch>
            <a:fillRect/>
          </a:stretch>
        </p:blipFill>
        <p:spPr>
          <a:xfrm>
            <a:off x="1031607" y="3756984"/>
            <a:ext cx="508000" cy="508000"/>
          </a:xfrm>
          <a:prstGeom prst="rect">
            <a:avLst/>
          </a:prstGeom>
        </p:spPr>
      </p:pic>
      <p:pic>
        <p:nvPicPr>
          <p:cNvPr id="18" name="Picture 17">
            <a:extLst>
              <a:ext uri="{FF2B5EF4-FFF2-40B4-BE49-F238E27FC236}">
                <a16:creationId xmlns:a16="http://schemas.microsoft.com/office/drawing/2014/main" id="{BEB9C5D4-0B09-AE45-87CB-A465D98B16ED}"/>
              </a:ext>
            </a:extLst>
          </p:cNvPr>
          <p:cNvPicPr>
            <a:picLocks noChangeAspect="1"/>
          </p:cNvPicPr>
          <p:nvPr userDrawn="1"/>
        </p:nvPicPr>
        <p:blipFill>
          <a:blip r:embed="rId3"/>
          <a:stretch>
            <a:fillRect/>
          </a:stretch>
        </p:blipFill>
        <p:spPr>
          <a:xfrm>
            <a:off x="10592414" y="2438817"/>
            <a:ext cx="508000" cy="508000"/>
          </a:xfrm>
          <a:prstGeom prst="rect">
            <a:avLst/>
          </a:prstGeom>
        </p:spPr>
      </p:pic>
      <p:pic>
        <p:nvPicPr>
          <p:cNvPr id="19" name="Picture 18">
            <a:extLst>
              <a:ext uri="{FF2B5EF4-FFF2-40B4-BE49-F238E27FC236}">
                <a16:creationId xmlns:a16="http://schemas.microsoft.com/office/drawing/2014/main" id="{4C6DD0D4-4B22-CC41-89ED-41332CCBB6B0}"/>
              </a:ext>
            </a:extLst>
          </p:cNvPr>
          <p:cNvPicPr>
            <a:picLocks noChangeAspect="1"/>
          </p:cNvPicPr>
          <p:nvPr userDrawn="1"/>
        </p:nvPicPr>
        <p:blipFill>
          <a:blip r:embed="rId4"/>
          <a:stretch>
            <a:fillRect/>
          </a:stretch>
        </p:blipFill>
        <p:spPr>
          <a:xfrm>
            <a:off x="10812868" y="3689811"/>
            <a:ext cx="380030" cy="380030"/>
          </a:xfrm>
          <a:prstGeom prst="rect">
            <a:avLst/>
          </a:prstGeom>
        </p:spPr>
      </p:pic>
      <p:pic>
        <p:nvPicPr>
          <p:cNvPr id="11" name="Picture 10" descr="A picture containing text, clipart&#10;&#10;Description automatically generated">
            <a:extLst>
              <a:ext uri="{FF2B5EF4-FFF2-40B4-BE49-F238E27FC236}">
                <a16:creationId xmlns:a16="http://schemas.microsoft.com/office/drawing/2014/main" id="{A21DC0F5-5CDB-1173-1BFA-8032F73F7EA7}"/>
              </a:ext>
            </a:extLst>
          </p:cNvPr>
          <p:cNvPicPr>
            <a:picLocks noChangeAspect="1"/>
          </p:cNvPicPr>
          <p:nvPr userDrawn="1"/>
        </p:nvPicPr>
        <p:blipFill>
          <a:blip r:embed="rId5"/>
          <a:stretch>
            <a:fillRect/>
          </a:stretch>
        </p:blipFill>
        <p:spPr>
          <a:xfrm>
            <a:off x="10133703" y="6325250"/>
            <a:ext cx="1738361" cy="194422"/>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539D4F93-A830-6E53-6EF8-1B1162928060}"/>
              </a:ext>
            </a:extLst>
          </p:cNvPr>
          <p:cNvPicPr>
            <a:picLocks noChangeAspect="1"/>
          </p:cNvPicPr>
          <p:nvPr userDrawn="1"/>
        </p:nvPicPr>
        <p:blipFill>
          <a:blip r:embed="rId6"/>
          <a:stretch>
            <a:fillRect/>
          </a:stretch>
        </p:blipFill>
        <p:spPr>
          <a:xfrm>
            <a:off x="-1" y="4304714"/>
            <a:ext cx="2078371" cy="2579538"/>
          </a:xfrm>
          <a:prstGeom prst="rect">
            <a:avLst/>
          </a:prstGeom>
        </p:spPr>
      </p:pic>
    </p:spTree>
    <p:extLst>
      <p:ext uri="{BB962C8B-B14F-4D97-AF65-F5344CB8AC3E}">
        <p14:creationId xmlns:p14="http://schemas.microsoft.com/office/powerpoint/2010/main" val="40025712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side_Infographic">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97FEBEA-7370-E641-9647-AECCC5D7A35A}"/>
              </a:ext>
            </a:extLst>
          </p:cNvPr>
          <p:cNvSpPr>
            <a:spLocks noGrp="1"/>
          </p:cNvSpPr>
          <p:nvPr>
            <p:ph type="title"/>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endParaRPr lang="en-US" dirty="0"/>
          </a:p>
        </p:txBody>
      </p:sp>
      <p:sp>
        <p:nvSpPr>
          <p:cNvPr id="17" name="Text Placeholder 16">
            <a:extLst>
              <a:ext uri="{FF2B5EF4-FFF2-40B4-BE49-F238E27FC236}">
                <a16:creationId xmlns:a16="http://schemas.microsoft.com/office/drawing/2014/main" id="{0FF82DCE-2EDA-E34A-9306-10A8D6EA80BF}"/>
              </a:ext>
            </a:extLst>
          </p:cNvPr>
          <p:cNvSpPr>
            <a:spLocks noGrp="1"/>
          </p:cNvSpPr>
          <p:nvPr>
            <p:ph type="body" sz="quarter" idx="10" hasCustomPrompt="1"/>
          </p:nvPr>
        </p:nvSpPr>
        <p:spPr>
          <a:xfrm>
            <a:off x="914400" y="914400"/>
            <a:ext cx="10332720"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12" name="Picture 11">
            <a:extLst>
              <a:ext uri="{FF2B5EF4-FFF2-40B4-BE49-F238E27FC236}">
                <a16:creationId xmlns:a16="http://schemas.microsoft.com/office/drawing/2014/main" id="{99E2EF91-5931-0548-BC7F-74B4069802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47120" y="5443632"/>
            <a:ext cx="282537" cy="282537"/>
          </a:xfrm>
          <a:prstGeom prst="rect">
            <a:avLst/>
          </a:prstGeom>
        </p:spPr>
      </p:pic>
      <p:pic>
        <p:nvPicPr>
          <p:cNvPr id="13" name="Picture 12">
            <a:extLst>
              <a:ext uri="{FF2B5EF4-FFF2-40B4-BE49-F238E27FC236}">
                <a16:creationId xmlns:a16="http://schemas.microsoft.com/office/drawing/2014/main" id="{C5D706C6-7EB1-304C-907B-B0E47DB9D3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2681162"/>
            <a:ext cx="294449" cy="294449"/>
          </a:xfrm>
          <a:prstGeom prst="rect">
            <a:avLst/>
          </a:prstGeom>
        </p:spPr>
      </p:pic>
      <p:pic>
        <p:nvPicPr>
          <p:cNvPr id="14" name="Picture 13">
            <a:extLst>
              <a:ext uri="{FF2B5EF4-FFF2-40B4-BE49-F238E27FC236}">
                <a16:creationId xmlns:a16="http://schemas.microsoft.com/office/drawing/2014/main" id="{16670D06-8E24-324E-804E-14042AE8DD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1481" y="4786365"/>
            <a:ext cx="294449" cy="294449"/>
          </a:xfrm>
          <a:prstGeom prst="rect">
            <a:avLst/>
          </a:prstGeom>
        </p:spPr>
      </p:pic>
      <p:pic>
        <p:nvPicPr>
          <p:cNvPr id="15" name="Picture 14">
            <a:extLst>
              <a:ext uri="{FF2B5EF4-FFF2-40B4-BE49-F238E27FC236}">
                <a16:creationId xmlns:a16="http://schemas.microsoft.com/office/drawing/2014/main" id="{C8142170-4F8D-9A4F-A1D5-B42CB406F92C}"/>
              </a:ext>
            </a:extLst>
          </p:cNvPr>
          <p:cNvPicPr>
            <a:picLocks noChangeAspect="1"/>
          </p:cNvPicPr>
          <p:nvPr userDrawn="1"/>
        </p:nvPicPr>
        <p:blipFill>
          <a:blip r:embed="rId3"/>
          <a:stretch>
            <a:fillRect/>
          </a:stretch>
        </p:blipFill>
        <p:spPr>
          <a:xfrm>
            <a:off x="439763" y="5759734"/>
            <a:ext cx="508000" cy="508000"/>
          </a:xfrm>
          <a:prstGeom prst="rect">
            <a:avLst/>
          </a:prstGeom>
        </p:spPr>
      </p:pic>
      <p:pic>
        <p:nvPicPr>
          <p:cNvPr id="18" name="Picture 17">
            <a:extLst>
              <a:ext uri="{FF2B5EF4-FFF2-40B4-BE49-F238E27FC236}">
                <a16:creationId xmlns:a16="http://schemas.microsoft.com/office/drawing/2014/main" id="{BEB9C5D4-0B09-AE45-87CB-A465D98B16ED}"/>
              </a:ext>
            </a:extLst>
          </p:cNvPr>
          <p:cNvPicPr>
            <a:picLocks noChangeAspect="1"/>
          </p:cNvPicPr>
          <p:nvPr userDrawn="1"/>
        </p:nvPicPr>
        <p:blipFill>
          <a:blip r:embed="rId3"/>
          <a:stretch>
            <a:fillRect/>
          </a:stretch>
        </p:blipFill>
        <p:spPr>
          <a:xfrm>
            <a:off x="11589528" y="2613736"/>
            <a:ext cx="294449" cy="294449"/>
          </a:xfrm>
          <a:prstGeom prst="rect">
            <a:avLst/>
          </a:prstGeom>
        </p:spPr>
      </p:pic>
      <p:sp>
        <p:nvSpPr>
          <p:cNvPr id="11" name="Arrow: Chevron 4">
            <a:extLst>
              <a:ext uri="{FF2B5EF4-FFF2-40B4-BE49-F238E27FC236}">
                <a16:creationId xmlns:a16="http://schemas.microsoft.com/office/drawing/2014/main" id="{C475B711-6465-B545-88E2-3B4E92BC1028}"/>
              </a:ext>
            </a:extLst>
          </p:cNvPr>
          <p:cNvSpPr/>
          <p:nvPr userDrawn="1"/>
        </p:nvSpPr>
        <p:spPr>
          <a:xfrm>
            <a:off x="1705218" y="4128414"/>
            <a:ext cx="2231118" cy="333828"/>
          </a:xfrm>
          <a:prstGeom prst="chevron">
            <a:avLst>
              <a:gd name="adj" fmla="val 0"/>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itle</a:t>
            </a:r>
          </a:p>
        </p:txBody>
      </p:sp>
      <p:sp>
        <p:nvSpPr>
          <p:cNvPr id="20" name="Arrow: Chevron 13">
            <a:extLst>
              <a:ext uri="{FF2B5EF4-FFF2-40B4-BE49-F238E27FC236}">
                <a16:creationId xmlns:a16="http://schemas.microsoft.com/office/drawing/2014/main" id="{B4F97071-ACA7-9543-A8D6-92D3C1CA6F86}"/>
              </a:ext>
            </a:extLst>
          </p:cNvPr>
          <p:cNvSpPr/>
          <p:nvPr userDrawn="1"/>
        </p:nvSpPr>
        <p:spPr>
          <a:xfrm>
            <a:off x="3832581" y="4128415"/>
            <a:ext cx="2231118" cy="333828"/>
          </a:xfrm>
          <a:prstGeom prst="chevron">
            <a:avLst>
              <a:gd name="adj" fmla="val 0"/>
            </a:avLst>
          </a:prstGeom>
          <a:solidFill>
            <a:srgbClr val="81D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itle</a:t>
            </a:r>
            <a:endParaRPr kumimoji="0" lang="en-US" sz="1600" b="0" i="0" u="none" strike="noStrike" kern="1200" cap="none" spc="300" normalizeH="0" baseline="0" noProof="0" dirty="0">
              <a:ln>
                <a:noFill/>
              </a:ln>
              <a:solidFill>
                <a:srgbClr val="FFFFFF"/>
              </a:solidFill>
              <a:effectLst/>
              <a:uLnTx/>
              <a:uFillTx/>
              <a:latin typeface="Calibri Light" panose="020F0302020204030204"/>
              <a:ea typeface="+mn-ea"/>
              <a:cs typeface="+mn-cs"/>
            </a:endParaRPr>
          </a:p>
        </p:txBody>
      </p:sp>
      <p:sp>
        <p:nvSpPr>
          <p:cNvPr id="21" name="Arrow: Chevron 16">
            <a:extLst>
              <a:ext uri="{FF2B5EF4-FFF2-40B4-BE49-F238E27FC236}">
                <a16:creationId xmlns:a16="http://schemas.microsoft.com/office/drawing/2014/main" id="{7849F090-DA2F-BC41-8C9A-4A0F3DE1D75A}"/>
              </a:ext>
            </a:extLst>
          </p:cNvPr>
          <p:cNvSpPr/>
          <p:nvPr userDrawn="1"/>
        </p:nvSpPr>
        <p:spPr>
          <a:xfrm>
            <a:off x="5953593" y="4128414"/>
            <a:ext cx="2231118" cy="333828"/>
          </a:xfrm>
          <a:prstGeom prst="chevron">
            <a:avLst>
              <a:gd name="adj" fmla="val 0"/>
            </a:avLst>
          </a:prstGeom>
          <a:solidFill>
            <a:srgbClr val="2DB0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itle</a:t>
            </a:r>
            <a:endParaRPr kumimoji="0" lang="en-US" sz="1600" b="0" i="0" u="none" strike="noStrike" kern="1200" cap="none" spc="300" normalizeH="0" baseline="0" noProof="0" dirty="0">
              <a:ln>
                <a:noFill/>
              </a:ln>
              <a:solidFill>
                <a:srgbClr val="FFFFFF"/>
              </a:solidFill>
              <a:effectLst/>
              <a:uLnTx/>
              <a:uFillTx/>
              <a:latin typeface="Calibri Light" panose="020F0302020204030204"/>
              <a:ea typeface="+mn-ea"/>
              <a:cs typeface="+mn-cs"/>
            </a:endParaRPr>
          </a:p>
        </p:txBody>
      </p:sp>
      <p:sp>
        <p:nvSpPr>
          <p:cNvPr id="22" name="Arrow: Chevron 19">
            <a:extLst>
              <a:ext uri="{FF2B5EF4-FFF2-40B4-BE49-F238E27FC236}">
                <a16:creationId xmlns:a16="http://schemas.microsoft.com/office/drawing/2014/main" id="{DDD5B4BA-EE94-9240-AC6D-F78FEB4BF3DD}"/>
              </a:ext>
            </a:extLst>
          </p:cNvPr>
          <p:cNvSpPr/>
          <p:nvPr userDrawn="1"/>
        </p:nvSpPr>
        <p:spPr>
          <a:xfrm>
            <a:off x="8080956" y="4128415"/>
            <a:ext cx="2231118" cy="333828"/>
          </a:xfrm>
          <a:prstGeom prst="chevron">
            <a:avLst>
              <a:gd name="adj" fmla="val 0"/>
            </a:avLst>
          </a:prstGeom>
          <a:solidFill>
            <a:srgbClr val="CAEB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itle</a:t>
            </a:r>
            <a:endParaRPr kumimoji="0" lang="en-US" sz="1600" b="0" i="0" u="none" strike="noStrike" kern="1200" cap="none" spc="300" normalizeH="0" baseline="0" noProof="0" dirty="0">
              <a:ln>
                <a:noFill/>
              </a:ln>
              <a:solidFill>
                <a:srgbClr val="FFFFFF"/>
              </a:solidFill>
              <a:effectLst/>
              <a:uLnTx/>
              <a:uFillTx/>
              <a:latin typeface="Calibri Light" panose="020F0302020204030204"/>
              <a:ea typeface="+mn-ea"/>
              <a:cs typeface="+mn-cs"/>
            </a:endParaRPr>
          </a:p>
        </p:txBody>
      </p:sp>
      <p:sp>
        <p:nvSpPr>
          <p:cNvPr id="24" name="Oval 23">
            <a:extLst>
              <a:ext uri="{FF2B5EF4-FFF2-40B4-BE49-F238E27FC236}">
                <a16:creationId xmlns:a16="http://schemas.microsoft.com/office/drawing/2014/main" id="{118BED9B-CBAC-C44F-BF4D-221DB146F3DB}"/>
              </a:ext>
            </a:extLst>
          </p:cNvPr>
          <p:cNvSpPr/>
          <p:nvPr userDrawn="1"/>
        </p:nvSpPr>
        <p:spPr>
          <a:xfrm>
            <a:off x="4457830" y="4980811"/>
            <a:ext cx="959264" cy="959264"/>
          </a:xfrm>
          <a:prstGeom prst="ellipse">
            <a:avLst/>
          </a:prstGeom>
          <a:solidFill>
            <a:srgbClr val="2DB0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25" name="Oval 24">
            <a:extLst>
              <a:ext uri="{FF2B5EF4-FFF2-40B4-BE49-F238E27FC236}">
                <a16:creationId xmlns:a16="http://schemas.microsoft.com/office/drawing/2014/main" id="{512530B9-0FC7-5E4B-9D6C-1C8FA35FC479}"/>
              </a:ext>
            </a:extLst>
          </p:cNvPr>
          <p:cNvSpPr/>
          <p:nvPr userDrawn="1"/>
        </p:nvSpPr>
        <p:spPr>
          <a:xfrm>
            <a:off x="8700122" y="4980811"/>
            <a:ext cx="959264" cy="959264"/>
          </a:xfrm>
          <a:prstGeom prst="ellipse">
            <a:avLst/>
          </a:prstGeom>
          <a:solidFill>
            <a:srgbClr val="81D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26" name="Oval 25">
            <a:extLst>
              <a:ext uri="{FF2B5EF4-FFF2-40B4-BE49-F238E27FC236}">
                <a16:creationId xmlns:a16="http://schemas.microsoft.com/office/drawing/2014/main" id="{93F27135-5246-764A-B812-950BB3946776}"/>
              </a:ext>
            </a:extLst>
          </p:cNvPr>
          <p:cNvSpPr/>
          <p:nvPr userDrawn="1"/>
        </p:nvSpPr>
        <p:spPr>
          <a:xfrm>
            <a:off x="2341142" y="2703754"/>
            <a:ext cx="959264" cy="959264"/>
          </a:xfrm>
          <a:prstGeom prst="ellipse">
            <a:avLst/>
          </a:prstGeom>
          <a:solidFill>
            <a:srgbClr val="81D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27" name="Oval 26">
            <a:extLst>
              <a:ext uri="{FF2B5EF4-FFF2-40B4-BE49-F238E27FC236}">
                <a16:creationId xmlns:a16="http://schemas.microsoft.com/office/drawing/2014/main" id="{CD2077B2-9DFA-104D-B672-2C9E505B9AED}"/>
              </a:ext>
            </a:extLst>
          </p:cNvPr>
          <p:cNvSpPr/>
          <p:nvPr userDrawn="1"/>
        </p:nvSpPr>
        <p:spPr>
          <a:xfrm>
            <a:off x="6583434" y="2703754"/>
            <a:ext cx="959264" cy="959264"/>
          </a:xfrm>
          <a:prstGeom prst="ellipse">
            <a:avLst/>
          </a:prstGeom>
          <a:solidFill>
            <a:srgbClr val="2DB0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 name="Text Placeholder 2">
            <a:extLst>
              <a:ext uri="{FF2B5EF4-FFF2-40B4-BE49-F238E27FC236}">
                <a16:creationId xmlns:a16="http://schemas.microsoft.com/office/drawing/2014/main" id="{90DF05E0-A2F3-3048-A767-90BDA3A9AC2D}"/>
              </a:ext>
            </a:extLst>
          </p:cNvPr>
          <p:cNvSpPr>
            <a:spLocks noGrp="1"/>
          </p:cNvSpPr>
          <p:nvPr>
            <p:ph type="body" sz="quarter" idx="14" hasCustomPrompt="1"/>
          </p:nvPr>
        </p:nvSpPr>
        <p:spPr>
          <a:xfrm>
            <a:off x="1885950" y="4711700"/>
            <a:ext cx="1839913" cy="1335088"/>
          </a:xfrm>
        </p:spPr>
        <p:txBody>
          <a:bodyPr/>
          <a:lstStyle>
            <a:lvl1pPr marL="0" indent="0">
              <a:buNone/>
              <a:defRPr sz="1700"/>
            </a:lvl1pPr>
          </a:lstStyle>
          <a:p>
            <a:pPr lvl="0"/>
            <a:r>
              <a:rPr lang="en-MX" dirty="0"/>
              <a:t>Add text</a:t>
            </a:r>
          </a:p>
        </p:txBody>
      </p:sp>
      <p:sp>
        <p:nvSpPr>
          <p:cNvPr id="41" name="Text Placeholder 2">
            <a:extLst>
              <a:ext uri="{FF2B5EF4-FFF2-40B4-BE49-F238E27FC236}">
                <a16:creationId xmlns:a16="http://schemas.microsoft.com/office/drawing/2014/main" id="{6D2EF9C2-7ACF-7243-AF85-C8DC391719C3}"/>
              </a:ext>
            </a:extLst>
          </p:cNvPr>
          <p:cNvSpPr>
            <a:spLocks noGrp="1"/>
          </p:cNvSpPr>
          <p:nvPr>
            <p:ph type="body" sz="quarter" idx="15" hasCustomPrompt="1"/>
          </p:nvPr>
        </p:nvSpPr>
        <p:spPr>
          <a:xfrm>
            <a:off x="6149340" y="4711700"/>
            <a:ext cx="1839913" cy="1335088"/>
          </a:xfrm>
        </p:spPr>
        <p:txBody>
          <a:bodyPr/>
          <a:lstStyle>
            <a:lvl1pPr marL="0" indent="0">
              <a:buNone/>
              <a:defRPr sz="1700"/>
            </a:lvl1pPr>
          </a:lstStyle>
          <a:p>
            <a:pPr lvl="0"/>
            <a:r>
              <a:rPr lang="en-MX" dirty="0"/>
              <a:t>Add text</a:t>
            </a:r>
          </a:p>
        </p:txBody>
      </p:sp>
      <p:sp>
        <p:nvSpPr>
          <p:cNvPr id="42" name="Text Placeholder 2">
            <a:extLst>
              <a:ext uri="{FF2B5EF4-FFF2-40B4-BE49-F238E27FC236}">
                <a16:creationId xmlns:a16="http://schemas.microsoft.com/office/drawing/2014/main" id="{CF512046-54AD-A342-B2D0-2CBA0910A4B6}"/>
              </a:ext>
            </a:extLst>
          </p:cNvPr>
          <p:cNvSpPr>
            <a:spLocks noGrp="1"/>
          </p:cNvSpPr>
          <p:nvPr>
            <p:ph type="body" sz="quarter" idx="16" hasCustomPrompt="1"/>
          </p:nvPr>
        </p:nvSpPr>
        <p:spPr>
          <a:xfrm>
            <a:off x="3954780" y="2585720"/>
            <a:ext cx="1839913" cy="1335088"/>
          </a:xfrm>
        </p:spPr>
        <p:txBody>
          <a:bodyPr/>
          <a:lstStyle>
            <a:lvl1pPr marL="0" indent="0">
              <a:buNone/>
              <a:defRPr sz="1700"/>
            </a:lvl1pPr>
          </a:lstStyle>
          <a:p>
            <a:pPr lvl="0"/>
            <a:r>
              <a:rPr lang="en-MX" dirty="0"/>
              <a:t>Add text</a:t>
            </a:r>
          </a:p>
        </p:txBody>
      </p:sp>
      <p:sp>
        <p:nvSpPr>
          <p:cNvPr id="43" name="Text Placeholder 2">
            <a:extLst>
              <a:ext uri="{FF2B5EF4-FFF2-40B4-BE49-F238E27FC236}">
                <a16:creationId xmlns:a16="http://schemas.microsoft.com/office/drawing/2014/main" id="{646FA7D7-F743-D540-AE13-B8C86F95FA7C}"/>
              </a:ext>
            </a:extLst>
          </p:cNvPr>
          <p:cNvSpPr>
            <a:spLocks noGrp="1"/>
          </p:cNvSpPr>
          <p:nvPr>
            <p:ph type="body" sz="quarter" idx="17" hasCustomPrompt="1"/>
          </p:nvPr>
        </p:nvSpPr>
        <p:spPr>
          <a:xfrm>
            <a:off x="8241030" y="2585720"/>
            <a:ext cx="1839913" cy="1335088"/>
          </a:xfrm>
        </p:spPr>
        <p:txBody>
          <a:bodyPr/>
          <a:lstStyle>
            <a:lvl1pPr marL="0" indent="0">
              <a:buNone/>
              <a:defRPr sz="1700"/>
            </a:lvl1pPr>
          </a:lstStyle>
          <a:p>
            <a:pPr lvl="0"/>
            <a:r>
              <a:rPr lang="en-MX" dirty="0"/>
              <a:t>Add text</a:t>
            </a:r>
          </a:p>
        </p:txBody>
      </p:sp>
      <p:pic>
        <p:nvPicPr>
          <p:cNvPr id="23" name="Picture 22" descr="A picture containing text, clipart&#10;&#10;Description automatically generated">
            <a:extLst>
              <a:ext uri="{FF2B5EF4-FFF2-40B4-BE49-F238E27FC236}">
                <a16:creationId xmlns:a16="http://schemas.microsoft.com/office/drawing/2014/main" id="{55CE5EAE-FA0F-F3DB-3C2E-AAA9FAEF362C}"/>
              </a:ext>
            </a:extLst>
          </p:cNvPr>
          <p:cNvPicPr>
            <a:picLocks noChangeAspect="1"/>
          </p:cNvPicPr>
          <p:nvPr userDrawn="1"/>
        </p:nvPicPr>
        <p:blipFill>
          <a:blip r:embed="rId4"/>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37975956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side_Picture left">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8D8CF1D5-E210-8E46-8D24-E99B85A89526}"/>
              </a:ext>
            </a:extLst>
          </p:cNvPr>
          <p:cNvSpPr>
            <a:spLocks noGrp="1"/>
          </p:cNvSpPr>
          <p:nvPr>
            <p:ph type="title" hasCustomPrompt="1"/>
          </p:nvPr>
        </p:nvSpPr>
        <p:spPr>
          <a:xfrm>
            <a:off x="914400" y="338328"/>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6" name="Text Placeholder 16">
            <a:extLst>
              <a:ext uri="{FF2B5EF4-FFF2-40B4-BE49-F238E27FC236}">
                <a16:creationId xmlns:a16="http://schemas.microsoft.com/office/drawing/2014/main" id="{438B0F32-63F1-4A4A-A7F7-68601156F39E}"/>
              </a:ext>
            </a:extLst>
          </p:cNvPr>
          <p:cNvSpPr>
            <a:spLocks noGrp="1"/>
          </p:cNvSpPr>
          <p:nvPr>
            <p:ph type="body" sz="quarter" idx="13" hasCustomPrompt="1"/>
          </p:nvPr>
        </p:nvSpPr>
        <p:spPr>
          <a:xfrm>
            <a:off x="914400" y="914400"/>
            <a:ext cx="10333038"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sp>
        <p:nvSpPr>
          <p:cNvPr id="10" name="Text Placeholder 17">
            <a:extLst>
              <a:ext uri="{FF2B5EF4-FFF2-40B4-BE49-F238E27FC236}">
                <a16:creationId xmlns:a16="http://schemas.microsoft.com/office/drawing/2014/main" id="{5FD2ADC0-E936-2E42-A145-A65A679D5586}"/>
              </a:ext>
            </a:extLst>
          </p:cNvPr>
          <p:cNvSpPr>
            <a:spLocks noGrp="1"/>
          </p:cNvSpPr>
          <p:nvPr>
            <p:ph type="body" sz="quarter" idx="22" hasCustomPrompt="1"/>
          </p:nvPr>
        </p:nvSpPr>
        <p:spPr>
          <a:xfrm>
            <a:off x="1012920" y="3087869"/>
            <a:ext cx="2045240" cy="2502987"/>
          </a:xfrm>
        </p:spPr>
        <p:txBody>
          <a:bodyPr>
            <a:no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endParaRPr lang="en-MX" dirty="0"/>
          </a:p>
        </p:txBody>
      </p:sp>
      <p:pic>
        <p:nvPicPr>
          <p:cNvPr id="17" name="Picture 16">
            <a:extLst>
              <a:ext uri="{FF2B5EF4-FFF2-40B4-BE49-F238E27FC236}">
                <a16:creationId xmlns:a16="http://schemas.microsoft.com/office/drawing/2014/main" id="{7A58D24D-DE22-E043-BF9C-E8574C639F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742" y="5687453"/>
            <a:ext cx="294449" cy="294449"/>
          </a:xfrm>
          <a:prstGeom prst="rect">
            <a:avLst/>
          </a:prstGeom>
        </p:spPr>
      </p:pic>
      <p:pic>
        <p:nvPicPr>
          <p:cNvPr id="8" name="Picture 7" descr="A picture containing text, clipart&#10;&#10;Description automatically generated">
            <a:extLst>
              <a:ext uri="{FF2B5EF4-FFF2-40B4-BE49-F238E27FC236}">
                <a16:creationId xmlns:a16="http://schemas.microsoft.com/office/drawing/2014/main" id="{3187E8C5-990D-E165-C6C3-01CA782208A4}"/>
              </a:ext>
            </a:extLst>
          </p:cNvPr>
          <p:cNvPicPr>
            <a:picLocks noChangeAspect="1"/>
          </p:cNvPicPr>
          <p:nvPr userDrawn="1"/>
        </p:nvPicPr>
        <p:blipFill>
          <a:blip r:embed="rId3"/>
          <a:stretch>
            <a:fillRect/>
          </a:stretch>
        </p:blipFill>
        <p:spPr>
          <a:xfrm>
            <a:off x="10133703" y="6325250"/>
            <a:ext cx="1738361" cy="194422"/>
          </a:xfrm>
          <a:prstGeom prst="rect">
            <a:avLst/>
          </a:prstGeom>
        </p:spPr>
      </p:pic>
      <p:pic>
        <p:nvPicPr>
          <p:cNvPr id="9" name="Picture 8">
            <a:extLst>
              <a:ext uri="{FF2B5EF4-FFF2-40B4-BE49-F238E27FC236}">
                <a16:creationId xmlns:a16="http://schemas.microsoft.com/office/drawing/2014/main" id="{023095D9-D11B-E022-1D5C-CE6B38073533}"/>
              </a:ext>
            </a:extLst>
          </p:cNvPr>
          <p:cNvPicPr>
            <a:picLocks noChangeAspect="1"/>
          </p:cNvPicPr>
          <p:nvPr userDrawn="1"/>
        </p:nvPicPr>
        <p:blipFill>
          <a:blip r:embed="rId4"/>
          <a:stretch>
            <a:fillRect/>
          </a:stretch>
        </p:blipFill>
        <p:spPr>
          <a:xfrm>
            <a:off x="414416" y="5109537"/>
            <a:ext cx="380030" cy="380030"/>
          </a:xfrm>
          <a:prstGeom prst="rect">
            <a:avLst/>
          </a:prstGeom>
        </p:spPr>
      </p:pic>
    </p:spTree>
    <p:extLst>
      <p:ext uri="{BB962C8B-B14F-4D97-AF65-F5344CB8AC3E}">
        <p14:creationId xmlns:p14="http://schemas.microsoft.com/office/powerpoint/2010/main" val="250621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_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4C17BB6-1F0C-C888-C511-DDC94A6194FE}"/>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4E93138-D53B-5C46-955B-87BECFEC709D}"/>
              </a:ext>
            </a:extLst>
          </p:cNvPr>
          <p:cNvSpPr>
            <a:spLocks noGrp="1"/>
          </p:cNvSpPr>
          <p:nvPr>
            <p:ph type="ctrTitle" hasCustomPrompt="1"/>
          </p:nvPr>
        </p:nvSpPr>
        <p:spPr>
          <a:xfrm>
            <a:off x="1150583" y="4844163"/>
            <a:ext cx="4087835" cy="795437"/>
          </a:xfrm>
          <a:prstGeom prst="rect">
            <a:avLst/>
          </a:prstGeom>
        </p:spPr>
        <p:txBody>
          <a:bodyPr lIns="0" tIns="0" rIns="0" bIns="0" anchor="ctr" anchorCtr="0"/>
          <a:lstStyle>
            <a:lvl1pPr algn="ctr">
              <a:defRPr sz="4250">
                <a:solidFill>
                  <a:schemeClr val="bg1"/>
                </a:solidFill>
              </a:defRPr>
            </a:lvl1pPr>
          </a:lstStyle>
          <a:p>
            <a:r>
              <a:rPr lang="en-US" dirty="0"/>
              <a:t>Click to edit title</a:t>
            </a:r>
          </a:p>
        </p:txBody>
      </p:sp>
      <p:pic>
        <p:nvPicPr>
          <p:cNvPr id="13" name="Picture 12">
            <a:extLst>
              <a:ext uri="{FF2B5EF4-FFF2-40B4-BE49-F238E27FC236}">
                <a16:creationId xmlns:a16="http://schemas.microsoft.com/office/drawing/2014/main" id="{D88C919B-5DB7-0A49-B2A9-EE8CF3EFD587}"/>
              </a:ext>
            </a:extLst>
          </p:cNvPr>
          <p:cNvPicPr>
            <a:picLocks noChangeAspect="1"/>
          </p:cNvPicPr>
          <p:nvPr userDrawn="1"/>
        </p:nvPicPr>
        <p:blipFill>
          <a:blip r:embed="rId2"/>
          <a:stretch>
            <a:fillRect/>
          </a:stretch>
        </p:blipFill>
        <p:spPr>
          <a:xfrm>
            <a:off x="9970839" y="6318962"/>
            <a:ext cx="1841307" cy="205561"/>
          </a:xfrm>
          <a:prstGeom prst="rect">
            <a:avLst/>
          </a:prstGeom>
        </p:spPr>
      </p:pic>
      <p:pic>
        <p:nvPicPr>
          <p:cNvPr id="15" name="Picture 14" descr="Icon&#10;&#10;Description automatically generated">
            <a:extLst>
              <a:ext uri="{FF2B5EF4-FFF2-40B4-BE49-F238E27FC236}">
                <a16:creationId xmlns:a16="http://schemas.microsoft.com/office/drawing/2014/main" id="{0FC7C87A-7A75-EE82-43A2-323753E796C2}"/>
              </a:ext>
            </a:extLst>
          </p:cNvPr>
          <p:cNvPicPr>
            <a:picLocks noChangeAspect="1"/>
          </p:cNvPicPr>
          <p:nvPr userDrawn="1"/>
        </p:nvPicPr>
        <p:blipFill>
          <a:blip r:embed="rId3"/>
          <a:stretch>
            <a:fillRect/>
          </a:stretch>
        </p:blipFill>
        <p:spPr>
          <a:xfrm>
            <a:off x="5260996" y="0"/>
            <a:ext cx="6953582" cy="6858000"/>
          </a:xfrm>
          <a:prstGeom prst="rect">
            <a:avLst/>
          </a:prstGeom>
        </p:spPr>
      </p:pic>
    </p:spTree>
    <p:extLst>
      <p:ext uri="{BB962C8B-B14F-4D97-AF65-F5344CB8AC3E}">
        <p14:creationId xmlns:p14="http://schemas.microsoft.com/office/powerpoint/2010/main" val="28211824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_2">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4F3E631-A2A5-9E88-D628-CFDCBEEB71AC}"/>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4E93138-D53B-5C46-955B-87BECFEC709D}"/>
              </a:ext>
            </a:extLst>
          </p:cNvPr>
          <p:cNvSpPr>
            <a:spLocks noGrp="1"/>
          </p:cNvSpPr>
          <p:nvPr>
            <p:ph type="ctrTitle" hasCustomPrompt="1"/>
          </p:nvPr>
        </p:nvSpPr>
        <p:spPr>
          <a:xfrm>
            <a:off x="4268333" y="4830916"/>
            <a:ext cx="3655333" cy="900718"/>
          </a:xfrm>
          <a:prstGeom prst="rect">
            <a:avLst/>
          </a:prstGeom>
        </p:spPr>
        <p:txBody>
          <a:bodyPr lIns="0" tIns="0" rIns="0" bIns="0" anchor="ctr" anchorCtr="0"/>
          <a:lstStyle>
            <a:lvl1pPr algn="ctr">
              <a:defRPr sz="4250">
                <a:solidFill>
                  <a:schemeClr val="bg1"/>
                </a:solidFill>
              </a:defRPr>
            </a:lvl1pPr>
          </a:lstStyle>
          <a:p>
            <a:r>
              <a:rPr lang="en-US" dirty="0"/>
              <a:t>Click to edit title</a:t>
            </a:r>
          </a:p>
        </p:txBody>
      </p:sp>
      <p:pic>
        <p:nvPicPr>
          <p:cNvPr id="13" name="Picture 12">
            <a:extLst>
              <a:ext uri="{FF2B5EF4-FFF2-40B4-BE49-F238E27FC236}">
                <a16:creationId xmlns:a16="http://schemas.microsoft.com/office/drawing/2014/main" id="{D88C919B-5DB7-0A49-B2A9-EE8CF3EFD587}"/>
              </a:ext>
            </a:extLst>
          </p:cNvPr>
          <p:cNvPicPr>
            <a:picLocks noChangeAspect="1"/>
          </p:cNvPicPr>
          <p:nvPr userDrawn="1"/>
        </p:nvPicPr>
        <p:blipFill>
          <a:blip r:embed="rId2"/>
          <a:stretch>
            <a:fillRect/>
          </a:stretch>
        </p:blipFill>
        <p:spPr>
          <a:xfrm>
            <a:off x="9970839" y="6318962"/>
            <a:ext cx="1841307" cy="205561"/>
          </a:xfrm>
          <a:prstGeom prst="rect">
            <a:avLst/>
          </a:prstGeom>
        </p:spPr>
      </p:pic>
      <p:pic>
        <p:nvPicPr>
          <p:cNvPr id="14" name="Picture 13">
            <a:extLst>
              <a:ext uri="{FF2B5EF4-FFF2-40B4-BE49-F238E27FC236}">
                <a16:creationId xmlns:a16="http://schemas.microsoft.com/office/drawing/2014/main" id="{FB2C0639-0EDB-A64D-B7F0-1A17F0F2144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01226" y="959543"/>
            <a:ext cx="258800" cy="258800"/>
          </a:xfrm>
          <a:prstGeom prst="rect">
            <a:avLst/>
          </a:prstGeom>
        </p:spPr>
      </p:pic>
      <p:pic>
        <p:nvPicPr>
          <p:cNvPr id="15" name="Picture 14">
            <a:extLst>
              <a:ext uri="{FF2B5EF4-FFF2-40B4-BE49-F238E27FC236}">
                <a16:creationId xmlns:a16="http://schemas.microsoft.com/office/drawing/2014/main" id="{F1CD28FF-6F6D-914F-A6E4-AF88BBB2F109}"/>
              </a:ext>
            </a:extLst>
          </p:cNvPr>
          <p:cNvPicPr>
            <a:picLocks noChangeAspect="1"/>
          </p:cNvPicPr>
          <p:nvPr userDrawn="1"/>
        </p:nvPicPr>
        <p:blipFill>
          <a:blip r:embed="rId4"/>
          <a:stretch>
            <a:fillRect/>
          </a:stretch>
        </p:blipFill>
        <p:spPr>
          <a:xfrm>
            <a:off x="2889701" y="1045898"/>
            <a:ext cx="458313" cy="458313"/>
          </a:xfrm>
          <a:prstGeom prst="rect">
            <a:avLst/>
          </a:prstGeom>
        </p:spPr>
      </p:pic>
      <p:pic>
        <p:nvPicPr>
          <p:cNvPr id="16" name="Picture 15">
            <a:extLst>
              <a:ext uri="{FF2B5EF4-FFF2-40B4-BE49-F238E27FC236}">
                <a16:creationId xmlns:a16="http://schemas.microsoft.com/office/drawing/2014/main" id="{480544F7-6F54-E240-8995-4C3ED0CD672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27007" y="3328968"/>
            <a:ext cx="332440" cy="332440"/>
          </a:xfrm>
          <a:prstGeom prst="rect">
            <a:avLst/>
          </a:prstGeom>
        </p:spPr>
      </p:pic>
      <p:pic>
        <p:nvPicPr>
          <p:cNvPr id="17" name="Picture 16">
            <a:extLst>
              <a:ext uri="{FF2B5EF4-FFF2-40B4-BE49-F238E27FC236}">
                <a16:creationId xmlns:a16="http://schemas.microsoft.com/office/drawing/2014/main" id="{8B9FC77B-A9C6-174E-A7A8-52AEE1B8E4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46853" y="2087316"/>
            <a:ext cx="332440" cy="332440"/>
          </a:xfrm>
          <a:prstGeom prst="rect">
            <a:avLst/>
          </a:prstGeom>
        </p:spPr>
      </p:pic>
      <p:pic>
        <p:nvPicPr>
          <p:cNvPr id="18" name="Picture 17">
            <a:extLst>
              <a:ext uri="{FF2B5EF4-FFF2-40B4-BE49-F238E27FC236}">
                <a16:creationId xmlns:a16="http://schemas.microsoft.com/office/drawing/2014/main" id="{0BE47144-5989-084D-BD3B-11EE0F2171FD}"/>
              </a:ext>
            </a:extLst>
          </p:cNvPr>
          <p:cNvPicPr>
            <a:picLocks noChangeAspect="1"/>
          </p:cNvPicPr>
          <p:nvPr userDrawn="1"/>
        </p:nvPicPr>
        <p:blipFill>
          <a:blip r:embed="rId4"/>
          <a:stretch>
            <a:fillRect/>
          </a:stretch>
        </p:blipFill>
        <p:spPr>
          <a:xfrm>
            <a:off x="8676916" y="3225990"/>
            <a:ext cx="166220" cy="166220"/>
          </a:xfrm>
          <a:prstGeom prst="rect">
            <a:avLst/>
          </a:prstGeom>
        </p:spPr>
      </p:pic>
      <p:pic>
        <p:nvPicPr>
          <p:cNvPr id="19" name="Picture 18">
            <a:extLst>
              <a:ext uri="{FF2B5EF4-FFF2-40B4-BE49-F238E27FC236}">
                <a16:creationId xmlns:a16="http://schemas.microsoft.com/office/drawing/2014/main" id="{B553FD1A-1527-064B-A7EA-51A00CAEF9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78523" y="2134125"/>
            <a:ext cx="332440" cy="332440"/>
          </a:xfrm>
          <a:prstGeom prst="rect">
            <a:avLst/>
          </a:prstGeom>
        </p:spPr>
      </p:pic>
      <p:pic>
        <p:nvPicPr>
          <p:cNvPr id="12" name="Picture 11" descr="A group of people dancing&#10;&#10;Description automatically generated with medium confidence">
            <a:extLst>
              <a:ext uri="{FF2B5EF4-FFF2-40B4-BE49-F238E27FC236}">
                <a16:creationId xmlns:a16="http://schemas.microsoft.com/office/drawing/2014/main" id="{3316645B-7570-AB48-99AD-C952D47B2AB4}"/>
              </a:ext>
            </a:extLst>
          </p:cNvPr>
          <p:cNvPicPr>
            <a:picLocks noChangeAspect="1"/>
          </p:cNvPicPr>
          <p:nvPr userDrawn="1"/>
        </p:nvPicPr>
        <p:blipFill>
          <a:blip r:embed="rId5"/>
          <a:stretch>
            <a:fillRect/>
          </a:stretch>
        </p:blipFill>
        <p:spPr>
          <a:xfrm>
            <a:off x="3683854" y="663905"/>
            <a:ext cx="4864100" cy="3657600"/>
          </a:xfrm>
          <a:prstGeom prst="rect">
            <a:avLst/>
          </a:prstGeom>
        </p:spPr>
      </p:pic>
      <p:pic>
        <p:nvPicPr>
          <p:cNvPr id="22" name="Picture 21" descr="A picture containing text&#10;&#10;Description automatically generated">
            <a:extLst>
              <a:ext uri="{FF2B5EF4-FFF2-40B4-BE49-F238E27FC236}">
                <a16:creationId xmlns:a16="http://schemas.microsoft.com/office/drawing/2014/main" id="{F2C95E72-AE19-CA41-5BA0-561C9FF70C0C}"/>
              </a:ext>
            </a:extLst>
          </p:cNvPr>
          <p:cNvPicPr>
            <a:picLocks noChangeAspect="1"/>
          </p:cNvPicPr>
          <p:nvPr userDrawn="1"/>
        </p:nvPicPr>
        <p:blipFill>
          <a:blip r:embed="rId6"/>
          <a:stretch>
            <a:fillRect/>
          </a:stretch>
        </p:blipFill>
        <p:spPr>
          <a:xfrm rot="5400000">
            <a:off x="-1363808" y="843139"/>
            <a:ext cx="7378700" cy="4673600"/>
          </a:xfrm>
          <a:prstGeom prst="rect">
            <a:avLst/>
          </a:prstGeom>
        </p:spPr>
      </p:pic>
    </p:spTree>
    <p:extLst>
      <p:ext uri="{BB962C8B-B14F-4D97-AF65-F5344CB8AC3E}">
        <p14:creationId xmlns:p14="http://schemas.microsoft.com/office/powerpoint/2010/main" val="8274287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673101" y="1623484"/>
            <a:ext cx="10847919" cy="46143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6129479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D11755-0080-FB45-844F-B2B876776485}"/>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0" name="Picture 19" descr="A close up of a logo&#10;&#10;Description automatically generated">
            <a:extLst>
              <a:ext uri="{FF2B5EF4-FFF2-40B4-BE49-F238E27FC236}">
                <a16:creationId xmlns:a16="http://schemas.microsoft.com/office/drawing/2014/main" id="{AEE93ACE-1EDA-CD48-8CB4-2061B2682F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588" y="653002"/>
            <a:ext cx="2219932" cy="247625"/>
          </a:xfrm>
          <a:prstGeom prst="rect">
            <a:avLst/>
          </a:prstGeom>
        </p:spPr>
      </p:pic>
      <p:sp>
        <p:nvSpPr>
          <p:cNvPr id="22" name="Title 1">
            <a:extLst>
              <a:ext uri="{FF2B5EF4-FFF2-40B4-BE49-F238E27FC236}">
                <a16:creationId xmlns:a16="http://schemas.microsoft.com/office/drawing/2014/main" id="{2F3AA992-1DCE-764A-8201-984AAB2B8119}"/>
              </a:ext>
            </a:extLst>
          </p:cNvPr>
          <p:cNvSpPr>
            <a:spLocks noGrp="1"/>
          </p:cNvSpPr>
          <p:nvPr>
            <p:ph type="ctrTitle" hasCustomPrompt="1"/>
          </p:nvPr>
        </p:nvSpPr>
        <p:spPr>
          <a:xfrm>
            <a:off x="851588" y="1439092"/>
            <a:ext cx="4906548" cy="685800"/>
          </a:xfrm>
          <a:prstGeom prst="rect">
            <a:avLst/>
          </a:prstGeom>
        </p:spPr>
        <p:txBody>
          <a:bodyPr lIns="0" tIns="0" rIns="0" bIns="0" anchor="t" anchorCtr="0"/>
          <a:lstStyle>
            <a:lvl1pPr algn="l">
              <a:defRPr sz="5500">
                <a:solidFill>
                  <a:schemeClr val="bg1"/>
                </a:solidFill>
              </a:defRPr>
            </a:lvl1pPr>
          </a:lstStyle>
          <a:p>
            <a:r>
              <a:rPr lang="en-US" dirty="0"/>
              <a:t>Click to edit title</a:t>
            </a:r>
          </a:p>
        </p:txBody>
      </p:sp>
      <p:sp>
        <p:nvSpPr>
          <p:cNvPr id="23" name="Subtitle 2">
            <a:extLst>
              <a:ext uri="{FF2B5EF4-FFF2-40B4-BE49-F238E27FC236}">
                <a16:creationId xmlns:a16="http://schemas.microsoft.com/office/drawing/2014/main" id="{91FE0DA0-F23B-DE4D-948E-A3E647CA41F6}"/>
              </a:ext>
            </a:extLst>
          </p:cNvPr>
          <p:cNvSpPr>
            <a:spLocks noGrp="1"/>
          </p:cNvSpPr>
          <p:nvPr>
            <p:ph type="subTitle" idx="1" hasCustomPrompt="1"/>
          </p:nvPr>
        </p:nvSpPr>
        <p:spPr>
          <a:xfrm>
            <a:off x="851588" y="2195158"/>
            <a:ext cx="4906548" cy="365760"/>
          </a:xfrm>
          <a:prstGeom prst="rect">
            <a:avLst/>
          </a:prstGeom>
        </p:spPr>
        <p:txBody>
          <a:bodyPr vert="horz" lIns="0" rIns="0" bIns="0" anchor="t" anchorCtr="0">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pic>
        <p:nvPicPr>
          <p:cNvPr id="3" name="Picture 2" descr="A picture containing text&#10;&#10;Description automatically generated">
            <a:extLst>
              <a:ext uri="{FF2B5EF4-FFF2-40B4-BE49-F238E27FC236}">
                <a16:creationId xmlns:a16="http://schemas.microsoft.com/office/drawing/2014/main" id="{F498F264-707E-3346-AF96-55B9E3479654}"/>
              </a:ext>
            </a:extLst>
          </p:cNvPr>
          <p:cNvPicPr>
            <a:picLocks noChangeAspect="1"/>
          </p:cNvPicPr>
          <p:nvPr userDrawn="1"/>
        </p:nvPicPr>
        <p:blipFill>
          <a:blip r:embed="rId3"/>
          <a:stretch>
            <a:fillRect/>
          </a:stretch>
        </p:blipFill>
        <p:spPr>
          <a:xfrm>
            <a:off x="4824730" y="2195830"/>
            <a:ext cx="7378700" cy="4673600"/>
          </a:xfrm>
          <a:prstGeom prst="rect">
            <a:avLst/>
          </a:prstGeom>
        </p:spPr>
      </p:pic>
    </p:spTree>
    <p:extLst>
      <p:ext uri="{BB962C8B-B14F-4D97-AF65-F5344CB8AC3E}">
        <p14:creationId xmlns:p14="http://schemas.microsoft.com/office/powerpoint/2010/main" val="30730992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6">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E96C40A-7842-204E-AAB2-91F29D880E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61445" y="275605"/>
            <a:ext cx="2593499" cy="289295"/>
          </a:xfrm>
          <a:prstGeom prst="rect">
            <a:avLst/>
          </a:prstGeom>
        </p:spPr>
      </p:pic>
      <p:sp>
        <p:nvSpPr>
          <p:cNvPr id="4" name="Rectangle 3">
            <a:extLst>
              <a:ext uri="{FF2B5EF4-FFF2-40B4-BE49-F238E27FC236}">
                <a16:creationId xmlns:a16="http://schemas.microsoft.com/office/drawing/2014/main" id="{EC10A45F-F3E1-3747-A219-AB2B8EB14274}"/>
              </a:ext>
            </a:extLst>
          </p:cNvPr>
          <p:cNvSpPr/>
          <p:nvPr userDrawn="1"/>
        </p:nvSpPr>
        <p:spPr>
          <a:xfrm>
            <a:off x="0" y="0"/>
            <a:ext cx="12192000" cy="6858000"/>
          </a:xfrm>
          <a:prstGeom prst="rect">
            <a:avLst/>
          </a:prstGeom>
          <a:solidFill>
            <a:srgbClr val="41A928"/>
          </a:solidFill>
          <a:ln>
            <a:solidFill>
              <a:srgbClr val="2DB0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X"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5" name="Picture 4" descr="A close up of a logo&#10;&#10;Description automatically generated">
            <a:extLst>
              <a:ext uri="{FF2B5EF4-FFF2-40B4-BE49-F238E27FC236}">
                <a16:creationId xmlns:a16="http://schemas.microsoft.com/office/drawing/2014/main" id="{62F146BA-C8F1-9B4D-8304-17E317A802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588" y="4159995"/>
            <a:ext cx="2219932" cy="247625"/>
          </a:xfrm>
          <a:prstGeom prst="rect">
            <a:avLst/>
          </a:prstGeom>
        </p:spPr>
      </p:pic>
      <p:sp>
        <p:nvSpPr>
          <p:cNvPr id="9" name="Title 1">
            <a:extLst>
              <a:ext uri="{FF2B5EF4-FFF2-40B4-BE49-F238E27FC236}">
                <a16:creationId xmlns:a16="http://schemas.microsoft.com/office/drawing/2014/main" id="{29F66FA1-4D94-734C-9B1B-111C7DAC5684}"/>
              </a:ext>
            </a:extLst>
          </p:cNvPr>
          <p:cNvSpPr>
            <a:spLocks noGrp="1"/>
          </p:cNvSpPr>
          <p:nvPr>
            <p:ph type="ctrTitle" hasCustomPrompt="1"/>
          </p:nvPr>
        </p:nvSpPr>
        <p:spPr>
          <a:xfrm>
            <a:off x="851588" y="4946085"/>
            <a:ext cx="4906548" cy="685800"/>
          </a:xfrm>
          <a:prstGeom prst="rect">
            <a:avLst/>
          </a:prstGeom>
        </p:spPr>
        <p:txBody>
          <a:bodyPr lIns="0" tIns="0" rIns="0" bIns="0" anchor="t" anchorCtr="0"/>
          <a:lstStyle>
            <a:lvl1pPr algn="l">
              <a:defRPr sz="5500">
                <a:solidFill>
                  <a:schemeClr val="bg1"/>
                </a:solidFill>
              </a:defRPr>
            </a:lvl1pPr>
          </a:lstStyle>
          <a:p>
            <a:r>
              <a:rPr lang="en-US" dirty="0"/>
              <a:t>Click to edit title</a:t>
            </a:r>
          </a:p>
        </p:txBody>
      </p:sp>
      <p:sp>
        <p:nvSpPr>
          <p:cNvPr id="10" name="Subtitle 2">
            <a:extLst>
              <a:ext uri="{FF2B5EF4-FFF2-40B4-BE49-F238E27FC236}">
                <a16:creationId xmlns:a16="http://schemas.microsoft.com/office/drawing/2014/main" id="{BFC87B1A-BA23-0144-90A1-53C5B93F4AE1}"/>
              </a:ext>
            </a:extLst>
          </p:cNvPr>
          <p:cNvSpPr>
            <a:spLocks noGrp="1"/>
          </p:cNvSpPr>
          <p:nvPr>
            <p:ph type="subTitle" idx="1" hasCustomPrompt="1"/>
          </p:nvPr>
        </p:nvSpPr>
        <p:spPr>
          <a:xfrm>
            <a:off x="851588" y="5702151"/>
            <a:ext cx="4906548" cy="365760"/>
          </a:xfrm>
          <a:prstGeom prst="rect">
            <a:avLst/>
          </a:prstGeom>
        </p:spPr>
        <p:txBody>
          <a:bodyPr vert="horz" lIns="0" rIns="0" bIns="0" anchor="t" anchorCtr="0">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pic>
        <p:nvPicPr>
          <p:cNvPr id="13" name="Picture 12" descr="Icon&#10;&#10;Description automatically generated">
            <a:extLst>
              <a:ext uri="{FF2B5EF4-FFF2-40B4-BE49-F238E27FC236}">
                <a16:creationId xmlns:a16="http://schemas.microsoft.com/office/drawing/2014/main" id="{6CD7480A-5D8A-8748-9CBE-EF8BCCC5CACF}"/>
              </a:ext>
            </a:extLst>
          </p:cNvPr>
          <p:cNvPicPr>
            <a:picLocks noChangeAspect="1"/>
          </p:cNvPicPr>
          <p:nvPr userDrawn="1"/>
        </p:nvPicPr>
        <p:blipFill>
          <a:blip r:embed="rId3"/>
          <a:stretch>
            <a:fillRect/>
          </a:stretch>
        </p:blipFill>
        <p:spPr>
          <a:xfrm>
            <a:off x="5260606" y="-22188"/>
            <a:ext cx="6953582" cy="6858000"/>
          </a:xfrm>
          <a:prstGeom prst="rect">
            <a:avLst/>
          </a:prstGeom>
        </p:spPr>
      </p:pic>
    </p:spTree>
    <p:extLst>
      <p:ext uri="{BB962C8B-B14F-4D97-AF65-F5344CB8AC3E}">
        <p14:creationId xmlns:p14="http://schemas.microsoft.com/office/powerpoint/2010/main" val="1049900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_7">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E96C40A-7842-204E-AAB2-91F29D880E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61445" y="275605"/>
            <a:ext cx="2593499" cy="289295"/>
          </a:xfrm>
          <a:prstGeom prst="rect">
            <a:avLst/>
          </a:prstGeom>
        </p:spPr>
      </p:pic>
      <p:sp>
        <p:nvSpPr>
          <p:cNvPr id="9" name="Title 1">
            <a:extLst>
              <a:ext uri="{FF2B5EF4-FFF2-40B4-BE49-F238E27FC236}">
                <a16:creationId xmlns:a16="http://schemas.microsoft.com/office/drawing/2014/main" id="{29F66FA1-4D94-734C-9B1B-111C7DAC5684}"/>
              </a:ext>
            </a:extLst>
          </p:cNvPr>
          <p:cNvSpPr>
            <a:spLocks noGrp="1"/>
          </p:cNvSpPr>
          <p:nvPr>
            <p:ph type="ctrTitle" hasCustomPrompt="1"/>
          </p:nvPr>
        </p:nvSpPr>
        <p:spPr>
          <a:xfrm>
            <a:off x="851588" y="4946085"/>
            <a:ext cx="4906548" cy="685800"/>
          </a:xfrm>
          <a:prstGeom prst="rect">
            <a:avLst/>
          </a:prstGeom>
        </p:spPr>
        <p:txBody>
          <a:bodyPr lIns="0" tIns="0" rIns="0" bIns="0" anchor="t" anchorCtr="0"/>
          <a:lstStyle>
            <a:lvl1pPr algn="l">
              <a:defRPr sz="5500">
                <a:solidFill>
                  <a:srgbClr val="41A928"/>
                </a:solidFill>
              </a:defRPr>
            </a:lvl1pPr>
          </a:lstStyle>
          <a:p>
            <a:r>
              <a:rPr lang="en-US" dirty="0"/>
              <a:t>Click to edit title</a:t>
            </a:r>
          </a:p>
        </p:txBody>
      </p:sp>
      <p:sp>
        <p:nvSpPr>
          <p:cNvPr id="10" name="Subtitle 2">
            <a:extLst>
              <a:ext uri="{FF2B5EF4-FFF2-40B4-BE49-F238E27FC236}">
                <a16:creationId xmlns:a16="http://schemas.microsoft.com/office/drawing/2014/main" id="{BFC87B1A-BA23-0144-90A1-53C5B93F4AE1}"/>
              </a:ext>
            </a:extLst>
          </p:cNvPr>
          <p:cNvSpPr>
            <a:spLocks noGrp="1"/>
          </p:cNvSpPr>
          <p:nvPr>
            <p:ph type="subTitle" idx="1" hasCustomPrompt="1"/>
          </p:nvPr>
        </p:nvSpPr>
        <p:spPr>
          <a:xfrm>
            <a:off x="851588" y="5702151"/>
            <a:ext cx="4906548" cy="365760"/>
          </a:xfrm>
          <a:prstGeom prst="rect">
            <a:avLst/>
          </a:prstGeom>
        </p:spPr>
        <p:txBody>
          <a:bodyPr vert="horz" lIns="0" rIns="0" bIns="0" anchor="t" anchorCtr="0">
            <a:noAutofit/>
          </a:bodyPr>
          <a:lstStyle>
            <a:lvl1pPr marL="0" indent="0" algn="l">
              <a:buNone/>
              <a:defRPr sz="2500">
                <a:solidFill>
                  <a:srgbClr val="41A92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pic>
        <p:nvPicPr>
          <p:cNvPr id="18" name="Picture 17" descr="Icon, arrow&#10;&#10;Description automatically generated with medium confidence">
            <a:extLst>
              <a:ext uri="{FF2B5EF4-FFF2-40B4-BE49-F238E27FC236}">
                <a16:creationId xmlns:a16="http://schemas.microsoft.com/office/drawing/2014/main" id="{750A49C1-68EE-5645-AE86-FC3AEA98C4F3}"/>
              </a:ext>
            </a:extLst>
          </p:cNvPr>
          <p:cNvPicPr>
            <a:picLocks noChangeAspect="1"/>
          </p:cNvPicPr>
          <p:nvPr userDrawn="1"/>
        </p:nvPicPr>
        <p:blipFill>
          <a:blip r:embed="rId3"/>
          <a:stretch>
            <a:fillRect/>
          </a:stretch>
        </p:blipFill>
        <p:spPr>
          <a:xfrm>
            <a:off x="6802532" y="0"/>
            <a:ext cx="5400898" cy="4946085"/>
          </a:xfrm>
          <a:prstGeom prst="rect">
            <a:avLst/>
          </a:prstGeom>
        </p:spPr>
      </p:pic>
    </p:spTree>
    <p:extLst>
      <p:ext uri="{BB962C8B-B14F-4D97-AF65-F5344CB8AC3E}">
        <p14:creationId xmlns:p14="http://schemas.microsoft.com/office/powerpoint/2010/main" val="545158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_8">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DD8F301-8C3F-F24B-B722-62D9D1D34A36}"/>
              </a:ext>
            </a:extLst>
          </p:cNvPr>
          <p:cNvSpPr>
            <a:spLocks noGrp="1"/>
          </p:cNvSpPr>
          <p:nvPr>
            <p:ph type="pic" sz="quarter" idx="10"/>
          </p:nvPr>
        </p:nvSpPr>
        <p:spPr>
          <a:xfrm>
            <a:off x="-128399" y="-232753"/>
            <a:ext cx="9667582" cy="7241463"/>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426 w 10000"/>
              <a:gd name="connsiteY1" fmla="*/ 113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0 h 10005"/>
              <a:gd name="connsiteX1" fmla="*/ 2426 w 10000"/>
              <a:gd name="connsiteY1" fmla="*/ 118 h 10005"/>
              <a:gd name="connsiteX2" fmla="*/ 5000 w 10000"/>
              <a:gd name="connsiteY2" fmla="*/ 1005 h 10005"/>
              <a:gd name="connsiteX3" fmla="*/ 7500 w 10000"/>
              <a:gd name="connsiteY3" fmla="*/ 5 h 10005"/>
              <a:gd name="connsiteX4" fmla="*/ 10000 w 10000"/>
              <a:gd name="connsiteY4" fmla="*/ 1005 h 10005"/>
              <a:gd name="connsiteX5" fmla="*/ 10000 w 10000"/>
              <a:gd name="connsiteY5" fmla="*/ 9005 h 10005"/>
              <a:gd name="connsiteX6" fmla="*/ 7500 w 10000"/>
              <a:gd name="connsiteY6" fmla="*/ 8005 h 10005"/>
              <a:gd name="connsiteX7" fmla="*/ 5000 w 10000"/>
              <a:gd name="connsiteY7" fmla="*/ 9005 h 10005"/>
              <a:gd name="connsiteX8" fmla="*/ 2500 w 10000"/>
              <a:gd name="connsiteY8" fmla="*/ 10005 h 10005"/>
              <a:gd name="connsiteX9" fmla="*/ 0 w 10000"/>
              <a:gd name="connsiteY9" fmla="*/ 9005 h 10005"/>
              <a:gd name="connsiteX10" fmla="*/ 0 w 10000"/>
              <a:gd name="connsiteY10" fmla="*/ 0 h 10005"/>
              <a:gd name="connsiteX0" fmla="*/ 0 w 10000"/>
              <a:gd name="connsiteY0" fmla="*/ 20 h 10025"/>
              <a:gd name="connsiteX1" fmla="*/ 2426 w 10000"/>
              <a:gd name="connsiteY1" fmla="*/ 138 h 10025"/>
              <a:gd name="connsiteX2" fmla="*/ 5015 w 10000"/>
              <a:gd name="connsiteY2" fmla="*/ 287 h 10025"/>
              <a:gd name="connsiteX3" fmla="*/ 7500 w 10000"/>
              <a:gd name="connsiteY3" fmla="*/ 25 h 10025"/>
              <a:gd name="connsiteX4" fmla="*/ 10000 w 10000"/>
              <a:gd name="connsiteY4" fmla="*/ 1025 h 10025"/>
              <a:gd name="connsiteX5" fmla="*/ 10000 w 10000"/>
              <a:gd name="connsiteY5" fmla="*/ 9025 h 10025"/>
              <a:gd name="connsiteX6" fmla="*/ 7500 w 10000"/>
              <a:gd name="connsiteY6" fmla="*/ 8025 h 10025"/>
              <a:gd name="connsiteX7" fmla="*/ 5000 w 10000"/>
              <a:gd name="connsiteY7" fmla="*/ 9025 h 10025"/>
              <a:gd name="connsiteX8" fmla="*/ 2500 w 10000"/>
              <a:gd name="connsiteY8" fmla="*/ 10025 h 10025"/>
              <a:gd name="connsiteX9" fmla="*/ 0 w 10000"/>
              <a:gd name="connsiteY9" fmla="*/ 9025 h 10025"/>
              <a:gd name="connsiteX10" fmla="*/ 0 w 10000"/>
              <a:gd name="connsiteY10" fmla="*/ 20 h 10025"/>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10000 w 10000"/>
              <a:gd name="connsiteY5" fmla="*/ 9032 h 10032"/>
              <a:gd name="connsiteX6" fmla="*/ 7500 w 10000"/>
              <a:gd name="connsiteY6" fmla="*/ 8032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665 w 10000"/>
              <a:gd name="connsiteY5" fmla="*/ 3432 h 10032"/>
              <a:gd name="connsiteX6" fmla="*/ 7500 w 10000"/>
              <a:gd name="connsiteY6" fmla="*/ 8032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665 w 10000"/>
              <a:gd name="connsiteY5" fmla="*/ 3432 h 10032"/>
              <a:gd name="connsiteX6" fmla="*/ 7500 w 10000"/>
              <a:gd name="connsiteY6" fmla="*/ 8032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665 w 10000"/>
              <a:gd name="connsiteY5" fmla="*/ 3432 h 10032"/>
              <a:gd name="connsiteX6" fmla="*/ 7500 w 10000"/>
              <a:gd name="connsiteY6" fmla="*/ 8032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442 w 10000"/>
              <a:gd name="connsiteY5" fmla="*/ 3535 h 10032"/>
              <a:gd name="connsiteX6" fmla="*/ 7500 w 10000"/>
              <a:gd name="connsiteY6" fmla="*/ 8032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442 w 10000"/>
              <a:gd name="connsiteY5" fmla="*/ 3535 h 10032"/>
              <a:gd name="connsiteX6" fmla="*/ 4963 w 10000"/>
              <a:gd name="connsiteY6" fmla="*/ 5837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442 w 10000"/>
              <a:gd name="connsiteY5" fmla="*/ 3535 h 10032"/>
              <a:gd name="connsiteX6" fmla="*/ 4963 w 10000"/>
              <a:gd name="connsiteY6" fmla="*/ 5837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442 w 10000"/>
              <a:gd name="connsiteY5" fmla="*/ 3535 h 10032"/>
              <a:gd name="connsiteX6" fmla="*/ 5467 w 10000"/>
              <a:gd name="connsiteY6" fmla="*/ 5160 h 10032"/>
              <a:gd name="connsiteX7" fmla="*/ 5000 w 10000"/>
              <a:gd name="connsiteY7" fmla="*/ 9032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032"/>
              <a:gd name="connsiteX1" fmla="*/ 2426 w 10000"/>
              <a:gd name="connsiteY1" fmla="*/ 145 h 10032"/>
              <a:gd name="connsiteX2" fmla="*/ 5015 w 10000"/>
              <a:gd name="connsiteY2" fmla="*/ 294 h 10032"/>
              <a:gd name="connsiteX3" fmla="*/ 7500 w 10000"/>
              <a:gd name="connsiteY3" fmla="*/ 32 h 10032"/>
              <a:gd name="connsiteX4" fmla="*/ 10000 w 10000"/>
              <a:gd name="connsiteY4" fmla="*/ 376 h 10032"/>
              <a:gd name="connsiteX5" fmla="*/ 8442 w 10000"/>
              <a:gd name="connsiteY5" fmla="*/ 3535 h 10032"/>
              <a:gd name="connsiteX6" fmla="*/ 5467 w 10000"/>
              <a:gd name="connsiteY6" fmla="*/ 5160 h 10032"/>
              <a:gd name="connsiteX7" fmla="*/ 3768 w 10000"/>
              <a:gd name="connsiteY7" fmla="*/ 8786 h 10032"/>
              <a:gd name="connsiteX8" fmla="*/ 2500 w 10000"/>
              <a:gd name="connsiteY8" fmla="*/ 10032 h 10032"/>
              <a:gd name="connsiteX9" fmla="*/ 0 w 10000"/>
              <a:gd name="connsiteY9" fmla="*/ 9032 h 10032"/>
              <a:gd name="connsiteX10" fmla="*/ 0 w 10000"/>
              <a:gd name="connsiteY10" fmla="*/ 27 h 10032"/>
              <a:gd name="connsiteX0" fmla="*/ 0 w 10000"/>
              <a:gd name="connsiteY0" fmla="*/ 27 h 10217"/>
              <a:gd name="connsiteX1" fmla="*/ 2426 w 10000"/>
              <a:gd name="connsiteY1" fmla="*/ 145 h 10217"/>
              <a:gd name="connsiteX2" fmla="*/ 5015 w 10000"/>
              <a:gd name="connsiteY2" fmla="*/ 294 h 10217"/>
              <a:gd name="connsiteX3" fmla="*/ 7500 w 10000"/>
              <a:gd name="connsiteY3" fmla="*/ 32 h 10217"/>
              <a:gd name="connsiteX4" fmla="*/ 10000 w 10000"/>
              <a:gd name="connsiteY4" fmla="*/ 376 h 10217"/>
              <a:gd name="connsiteX5" fmla="*/ 8442 w 10000"/>
              <a:gd name="connsiteY5" fmla="*/ 3535 h 10217"/>
              <a:gd name="connsiteX6" fmla="*/ 5467 w 10000"/>
              <a:gd name="connsiteY6" fmla="*/ 5160 h 10217"/>
              <a:gd name="connsiteX7" fmla="*/ 3768 w 10000"/>
              <a:gd name="connsiteY7" fmla="*/ 8786 h 10217"/>
              <a:gd name="connsiteX8" fmla="*/ 1907 w 10000"/>
              <a:gd name="connsiteY8" fmla="*/ 10217 h 10217"/>
              <a:gd name="connsiteX9" fmla="*/ 0 w 10000"/>
              <a:gd name="connsiteY9" fmla="*/ 9032 h 10217"/>
              <a:gd name="connsiteX10" fmla="*/ 0 w 10000"/>
              <a:gd name="connsiteY10" fmla="*/ 27 h 10217"/>
              <a:gd name="connsiteX0" fmla="*/ 0 w 10000"/>
              <a:gd name="connsiteY0" fmla="*/ 27 h 10327"/>
              <a:gd name="connsiteX1" fmla="*/ 2426 w 10000"/>
              <a:gd name="connsiteY1" fmla="*/ 145 h 10327"/>
              <a:gd name="connsiteX2" fmla="*/ 5015 w 10000"/>
              <a:gd name="connsiteY2" fmla="*/ 294 h 10327"/>
              <a:gd name="connsiteX3" fmla="*/ 7500 w 10000"/>
              <a:gd name="connsiteY3" fmla="*/ 32 h 10327"/>
              <a:gd name="connsiteX4" fmla="*/ 10000 w 10000"/>
              <a:gd name="connsiteY4" fmla="*/ 376 h 10327"/>
              <a:gd name="connsiteX5" fmla="*/ 8442 w 10000"/>
              <a:gd name="connsiteY5" fmla="*/ 3535 h 10327"/>
              <a:gd name="connsiteX6" fmla="*/ 5467 w 10000"/>
              <a:gd name="connsiteY6" fmla="*/ 5160 h 10327"/>
              <a:gd name="connsiteX7" fmla="*/ 3768 w 10000"/>
              <a:gd name="connsiteY7" fmla="*/ 8786 h 10327"/>
              <a:gd name="connsiteX8" fmla="*/ 1907 w 10000"/>
              <a:gd name="connsiteY8" fmla="*/ 10217 h 10327"/>
              <a:gd name="connsiteX9" fmla="*/ 0 w 10000"/>
              <a:gd name="connsiteY9" fmla="*/ 10017 h 10327"/>
              <a:gd name="connsiteX10" fmla="*/ 0 w 10000"/>
              <a:gd name="connsiteY10" fmla="*/ 27 h 10327"/>
              <a:gd name="connsiteX0" fmla="*/ 0 w 10000"/>
              <a:gd name="connsiteY0" fmla="*/ 27 h 10327"/>
              <a:gd name="connsiteX1" fmla="*/ 2426 w 10000"/>
              <a:gd name="connsiteY1" fmla="*/ 145 h 10327"/>
              <a:gd name="connsiteX2" fmla="*/ 5015 w 10000"/>
              <a:gd name="connsiteY2" fmla="*/ 294 h 10327"/>
              <a:gd name="connsiteX3" fmla="*/ 7500 w 10000"/>
              <a:gd name="connsiteY3" fmla="*/ 32 h 10327"/>
              <a:gd name="connsiteX4" fmla="*/ 10000 w 10000"/>
              <a:gd name="connsiteY4" fmla="*/ 376 h 10327"/>
              <a:gd name="connsiteX5" fmla="*/ 8442 w 10000"/>
              <a:gd name="connsiteY5" fmla="*/ 3535 h 10327"/>
              <a:gd name="connsiteX6" fmla="*/ 5467 w 10000"/>
              <a:gd name="connsiteY6" fmla="*/ 5160 h 10327"/>
              <a:gd name="connsiteX7" fmla="*/ 3793 w 10000"/>
              <a:gd name="connsiteY7" fmla="*/ 8866 h 10327"/>
              <a:gd name="connsiteX8" fmla="*/ 1907 w 10000"/>
              <a:gd name="connsiteY8" fmla="*/ 10217 h 10327"/>
              <a:gd name="connsiteX9" fmla="*/ 0 w 10000"/>
              <a:gd name="connsiteY9" fmla="*/ 10017 h 10327"/>
              <a:gd name="connsiteX10" fmla="*/ 0 w 10000"/>
              <a:gd name="connsiteY10" fmla="*/ 27 h 10327"/>
              <a:gd name="connsiteX0" fmla="*/ 0 w 10000"/>
              <a:gd name="connsiteY0" fmla="*/ 27 h 10327"/>
              <a:gd name="connsiteX1" fmla="*/ 2426 w 10000"/>
              <a:gd name="connsiteY1" fmla="*/ 145 h 10327"/>
              <a:gd name="connsiteX2" fmla="*/ 5015 w 10000"/>
              <a:gd name="connsiteY2" fmla="*/ 294 h 10327"/>
              <a:gd name="connsiteX3" fmla="*/ 7500 w 10000"/>
              <a:gd name="connsiteY3" fmla="*/ 32 h 10327"/>
              <a:gd name="connsiteX4" fmla="*/ 10000 w 10000"/>
              <a:gd name="connsiteY4" fmla="*/ 376 h 10327"/>
              <a:gd name="connsiteX5" fmla="*/ 8442 w 10000"/>
              <a:gd name="connsiteY5" fmla="*/ 3535 h 10327"/>
              <a:gd name="connsiteX6" fmla="*/ 5467 w 10000"/>
              <a:gd name="connsiteY6" fmla="*/ 5160 h 10327"/>
              <a:gd name="connsiteX7" fmla="*/ 3793 w 10000"/>
              <a:gd name="connsiteY7" fmla="*/ 8866 h 10327"/>
              <a:gd name="connsiteX8" fmla="*/ 1907 w 10000"/>
              <a:gd name="connsiteY8" fmla="*/ 10217 h 10327"/>
              <a:gd name="connsiteX9" fmla="*/ 0 w 10000"/>
              <a:gd name="connsiteY9" fmla="*/ 10017 h 10327"/>
              <a:gd name="connsiteX10" fmla="*/ 0 w 10000"/>
              <a:gd name="connsiteY10" fmla="*/ 27 h 1032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793 w 10000"/>
              <a:gd name="connsiteY7" fmla="*/ 8866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793 w 10000"/>
              <a:gd name="connsiteY7" fmla="*/ 8866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793 w 10000"/>
              <a:gd name="connsiteY7" fmla="*/ 8866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793 w 10000"/>
              <a:gd name="connsiteY7" fmla="*/ 8866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851 w 10000"/>
              <a:gd name="connsiteY7" fmla="*/ 8672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868 w 10000"/>
              <a:gd name="connsiteY7" fmla="*/ 8741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47"/>
              <a:gd name="connsiteX1" fmla="*/ 2426 w 10000"/>
              <a:gd name="connsiteY1" fmla="*/ 145 h 10347"/>
              <a:gd name="connsiteX2" fmla="*/ 5015 w 10000"/>
              <a:gd name="connsiteY2" fmla="*/ 294 h 10347"/>
              <a:gd name="connsiteX3" fmla="*/ 7500 w 10000"/>
              <a:gd name="connsiteY3" fmla="*/ 32 h 10347"/>
              <a:gd name="connsiteX4" fmla="*/ 10000 w 10000"/>
              <a:gd name="connsiteY4" fmla="*/ 376 h 10347"/>
              <a:gd name="connsiteX5" fmla="*/ 8442 w 10000"/>
              <a:gd name="connsiteY5" fmla="*/ 3535 h 10347"/>
              <a:gd name="connsiteX6" fmla="*/ 5467 w 10000"/>
              <a:gd name="connsiteY6" fmla="*/ 5160 h 10347"/>
              <a:gd name="connsiteX7" fmla="*/ 3868 w 10000"/>
              <a:gd name="connsiteY7" fmla="*/ 8741 h 10347"/>
              <a:gd name="connsiteX8" fmla="*/ 1799 w 10000"/>
              <a:gd name="connsiteY8" fmla="*/ 10263 h 10347"/>
              <a:gd name="connsiteX9" fmla="*/ 0 w 10000"/>
              <a:gd name="connsiteY9" fmla="*/ 10017 h 10347"/>
              <a:gd name="connsiteX10" fmla="*/ 0 w 10000"/>
              <a:gd name="connsiteY10" fmla="*/ 27 h 10347"/>
              <a:gd name="connsiteX0" fmla="*/ 0 w 10000"/>
              <a:gd name="connsiteY0" fmla="*/ 27 h 10352"/>
              <a:gd name="connsiteX1" fmla="*/ 2426 w 10000"/>
              <a:gd name="connsiteY1" fmla="*/ 145 h 10352"/>
              <a:gd name="connsiteX2" fmla="*/ 5015 w 10000"/>
              <a:gd name="connsiteY2" fmla="*/ 294 h 10352"/>
              <a:gd name="connsiteX3" fmla="*/ 7500 w 10000"/>
              <a:gd name="connsiteY3" fmla="*/ 32 h 10352"/>
              <a:gd name="connsiteX4" fmla="*/ 10000 w 10000"/>
              <a:gd name="connsiteY4" fmla="*/ 376 h 10352"/>
              <a:gd name="connsiteX5" fmla="*/ 8442 w 10000"/>
              <a:gd name="connsiteY5" fmla="*/ 3535 h 10352"/>
              <a:gd name="connsiteX6" fmla="*/ 5467 w 10000"/>
              <a:gd name="connsiteY6" fmla="*/ 5160 h 10352"/>
              <a:gd name="connsiteX7" fmla="*/ 3868 w 10000"/>
              <a:gd name="connsiteY7" fmla="*/ 8741 h 10352"/>
              <a:gd name="connsiteX8" fmla="*/ 1816 w 10000"/>
              <a:gd name="connsiteY8" fmla="*/ 10274 h 10352"/>
              <a:gd name="connsiteX9" fmla="*/ 0 w 10000"/>
              <a:gd name="connsiteY9" fmla="*/ 10017 h 10352"/>
              <a:gd name="connsiteX10" fmla="*/ 0 w 10000"/>
              <a:gd name="connsiteY10" fmla="*/ 27 h 10352"/>
              <a:gd name="connsiteX0" fmla="*/ 0 w 10000"/>
              <a:gd name="connsiteY0" fmla="*/ 27 h 10352"/>
              <a:gd name="connsiteX1" fmla="*/ 2426 w 10000"/>
              <a:gd name="connsiteY1" fmla="*/ 145 h 10352"/>
              <a:gd name="connsiteX2" fmla="*/ 5015 w 10000"/>
              <a:gd name="connsiteY2" fmla="*/ 294 h 10352"/>
              <a:gd name="connsiteX3" fmla="*/ 7500 w 10000"/>
              <a:gd name="connsiteY3" fmla="*/ 32 h 10352"/>
              <a:gd name="connsiteX4" fmla="*/ 10000 w 10000"/>
              <a:gd name="connsiteY4" fmla="*/ 376 h 10352"/>
              <a:gd name="connsiteX5" fmla="*/ 8442 w 10000"/>
              <a:gd name="connsiteY5" fmla="*/ 3535 h 10352"/>
              <a:gd name="connsiteX6" fmla="*/ 5467 w 10000"/>
              <a:gd name="connsiteY6" fmla="*/ 5160 h 10352"/>
              <a:gd name="connsiteX7" fmla="*/ 3868 w 10000"/>
              <a:gd name="connsiteY7" fmla="*/ 8741 h 10352"/>
              <a:gd name="connsiteX8" fmla="*/ 1816 w 10000"/>
              <a:gd name="connsiteY8" fmla="*/ 10274 h 10352"/>
              <a:gd name="connsiteX9" fmla="*/ 0 w 10000"/>
              <a:gd name="connsiteY9" fmla="*/ 10017 h 10352"/>
              <a:gd name="connsiteX10" fmla="*/ 0 w 10000"/>
              <a:gd name="connsiteY10" fmla="*/ 27 h 10352"/>
              <a:gd name="connsiteX0" fmla="*/ 0 w 10000"/>
              <a:gd name="connsiteY0" fmla="*/ 27 h 10352"/>
              <a:gd name="connsiteX1" fmla="*/ 2426 w 10000"/>
              <a:gd name="connsiteY1" fmla="*/ 145 h 10352"/>
              <a:gd name="connsiteX2" fmla="*/ 5015 w 10000"/>
              <a:gd name="connsiteY2" fmla="*/ 294 h 10352"/>
              <a:gd name="connsiteX3" fmla="*/ 7500 w 10000"/>
              <a:gd name="connsiteY3" fmla="*/ 32 h 10352"/>
              <a:gd name="connsiteX4" fmla="*/ 10000 w 10000"/>
              <a:gd name="connsiteY4" fmla="*/ 376 h 10352"/>
              <a:gd name="connsiteX5" fmla="*/ 8442 w 10000"/>
              <a:gd name="connsiteY5" fmla="*/ 3535 h 10352"/>
              <a:gd name="connsiteX6" fmla="*/ 5525 w 10000"/>
              <a:gd name="connsiteY6" fmla="*/ 5091 h 10352"/>
              <a:gd name="connsiteX7" fmla="*/ 3868 w 10000"/>
              <a:gd name="connsiteY7" fmla="*/ 8741 h 10352"/>
              <a:gd name="connsiteX8" fmla="*/ 1816 w 10000"/>
              <a:gd name="connsiteY8" fmla="*/ 10274 h 10352"/>
              <a:gd name="connsiteX9" fmla="*/ 0 w 10000"/>
              <a:gd name="connsiteY9" fmla="*/ 10017 h 10352"/>
              <a:gd name="connsiteX10" fmla="*/ 0 w 10000"/>
              <a:gd name="connsiteY10" fmla="*/ 27 h 10352"/>
              <a:gd name="connsiteX0" fmla="*/ 0 w 10000"/>
              <a:gd name="connsiteY0" fmla="*/ 27 h 10352"/>
              <a:gd name="connsiteX1" fmla="*/ 2426 w 10000"/>
              <a:gd name="connsiteY1" fmla="*/ 145 h 10352"/>
              <a:gd name="connsiteX2" fmla="*/ 5015 w 10000"/>
              <a:gd name="connsiteY2" fmla="*/ 294 h 10352"/>
              <a:gd name="connsiteX3" fmla="*/ 7500 w 10000"/>
              <a:gd name="connsiteY3" fmla="*/ 32 h 10352"/>
              <a:gd name="connsiteX4" fmla="*/ 10000 w 10000"/>
              <a:gd name="connsiteY4" fmla="*/ 376 h 10352"/>
              <a:gd name="connsiteX5" fmla="*/ 8442 w 10000"/>
              <a:gd name="connsiteY5" fmla="*/ 3535 h 10352"/>
              <a:gd name="connsiteX6" fmla="*/ 5525 w 10000"/>
              <a:gd name="connsiteY6" fmla="*/ 5091 h 10352"/>
              <a:gd name="connsiteX7" fmla="*/ 3868 w 10000"/>
              <a:gd name="connsiteY7" fmla="*/ 8741 h 10352"/>
              <a:gd name="connsiteX8" fmla="*/ 1816 w 10000"/>
              <a:gd name="connsiteY8" fmla="*/ 10274 h 10352"/>
              <a:gd name="connsiteX9" fmla="*/ 0 w 10000"/>
              <a:gd name="connsiteY9" fmla="*/ 10017 h 10352"/>
              <a:gd name="connsiteX10" fmla="*/ 0 w 10000"/>
              <a:gd name="connsiteY10" fmla="*/ 27 h 10352"/>
              <a:gd name="connsiteX0" fmla="*/ 0 w 10000"/>
              <a:gd name="connsiteY0" fmla="*/ 27 h 10364"/>
              <a:gd name="connsiteX1" fmla="*/ 2426 w 10000"/>
              <a:gd name="connsiteY1" fmla="*/ 145 h 10364"/>
              <a:gd name="connsiteX2" fmla="*/ 5015 w 10000"/>
              <a:gd name="connsiteY2" fmla="*/ 294 h 10364"/>
              <a:gd name="connsiteX3" fmla="*/ 7500 w 10000"/>
              <a:gd name="connsiteY3" fmla="*/ 32 h 10364"/>
              <a:gd name="connsiteX4" fmla="*/ 10000 w 10000"/>
              <a:gd name="connsiteY4" fmla="*/ 376 h 10364"/>
              <a:gd name="connsiteX5" fmla="*/ 8442 w 10000"/>
              <a:gd name="connsiteY5" fmla="*/ 3535 h 10364"/>
              <a:gd name="connsiteX6" fmla="*/ 5525 w 10000"/>
              <a:gd name="connsiteY6" fmla="*/ 5091 h 10364"/>
              <a:gd name="connsiteX7" fmla="*/ 3868 w 10000"/>
              <a:gd name="connsiteY7" fmla="*/ 8741 h 10364"/>
              <a:gd name="connsiteX8" fmla="*/ 1783 w 10000"/>
              <a:gd name="connsiteY8" fmla="*/ 10297 h 10364"/>
              <a:gd name="connsiteX9" fmla="*/ 0 w 10000"/>
              <a:gd name="connsiteY9" fmla="*/ 10017 h 10364"/>
              <a:gd name="connsiteX10" fmla="*/ 0 w 10000"/>
              <a:gd name="connsiteY10" fmla="*/ 27 h 10364"/>
              <a:gd name="connsiteX0" fmla="*/ 0 w 10000"/>
              <a:gd name="connsiteY0" fmla="*/ 27 h 10364"/>
              <a:gd name="connsiteX1" fmla="*/ 2426 w 10000"/>
              <a:gd name="connsiteY1" fmla="*/ 145 h 10364"/>
              <a:gd name="connsiteX2" fmla="*/ 5015 w 10000"/>
              <a:gd name="connsiteY2" fmla="*/ 294 h 10364"/>
              <a:gd name="connsiteX3" fmla="*/ 7500 w 10000"/>
              <a:gd name="connsiteY3" fmla="*/ 32 h 10364"/>
              <a:gd name="connsiteX4" fmla="*/ 10000 w 10000"/>
              <a:gd name="connsiteY4" fmla="*/ 376 h 10364"/>
              <a:gd name="connsiteX5" fmla="*/ 8442 w 10000"/>
              <a:gd name="connsiteY5" fmla="*/ 3535 h 10364"/>
              <a:gd name="connsiteX6" fmla="*/ 5525 w 10000"/>
              <a:gd name="connsiteY6" fmla="*/ 5091 h 10364"/>
              <a:gd name="connsiteX7" fmla="*/ 3868 w 10000"/>
              <a:gd name="connsiteY7" fmla="*/ 8741 h 10364"/>
              <a:gd name="connsiteX8" fmla="*/ 1783 w 10000"/>
              <a:gd name="connsiteY8" fmla="*/ 10297 h 10364"/>
              <a:gd name="connsiteX9" fmla="*/ 0 w 10000"/>
              <a:gd name="connsiteY9" fmla="*/ 10017 h 10364"/>
              <a:gd name="connsiteX10" fmla="*/ 0 w 10000"/>
              <a:gd name="connsiteY10" fmla="*/ 27 h 10364"/>
              <a:gd name="connsiteX0" fmla="*/ 0 w 10000"/>
              <a:gd name="connsiteY0" fmla="*/ 27 h 10364"/>
              <a:gd name="connsiteX1" fmla="*/ 2426 w 10000"/>
              <a:gd name="connsiteY1" fmla="*/ 145 h 10364"/>
              <a:gd name="connsiteX2" fmla="*/ 5015 w 10000"/>
              <a:gd name="connsiteY2" fmla="*/ 294 h 10364"/>
              <a:gd name="connsiteX3" fmla="*/ 7500 w 10000"/>
              <a:gd name="connsiteY3" fmla="*/ 32 h 10364"/>
              <a:gd name="connsiteX4" fmla="*/ 10000 w 10000"/>
              <a:gd name="connsiteY4" fmla="*/ 376 h 10364"/>
              <a:gd name="connsiteX5" fmla="*/ 8442 w 10000"/>
              <a:gd name="connsiteY5" fmla="*/ 3535 h 10364"/>
              <a:gd name="connsiteX6" fmla="*/ 5525 w 10000"/>
              <a:gd name="connsiteY6" fmla="*/ 5091 h 10364"/>
              <a:gd name="connsiteX7" fmla="*/ 3868 w 10000"/>
              <a:gd name="connsiteY7" fmla="*/ 8741 h 10364"/>
              <a:gd name="connsiteX8" fmla="*/ 1783 w 10000"/>
              <a:gd name="connsiteY8" fmla="*/ 10297 h 10364"/>
              <a:gd name="connsiteX9" fmla="*/ 0 w 10000"/>
              <a:gd name="connsiteY9" fmla="*/ 10017 h 10364"/>
              <a:gd name="connsiteX10" fmla="*/ 0 w 10000"/>
              <a:gd name="connsiteY10" fmla="*/ 27 h 10364"/>
              <a:gd name="connsiteX0" fmla="*/ 0 w 10000"/>
              <a:gd name="connsiteY0" fmla="*/ 27 h 10364"/>
              <a:gd name="connsiteX1" fmla="*/ 2426 w 10000"/>
              <a:gd name="connsiteY1" fmla="*/ 145 h 10364"/>
              <a:gd name="connsiteX2" fmla="*/ 5015 w 10000"/>
              <a:gd name="connsiteY2" fmla="*/ 294 h 10364"/>
              <a:gd name="connsiteX3" fmla="*/ 7500 w 10000"/>
              <a:gd name="connsiteY3" fmla="*/ 32 h 10364"/>
              <a:gd name="connsiteX4" fmla="*/ 10000 w 10000"/>
              <a:gd name="connsiteY4" fmla="*/ 376 h 10364"/>
              <a:gd name="connsiteX5" fmla="*/ 8442 w 10000"/>
              <a:gd name="connsiteY5" fmla="*/ 3535 h 10364"/>
              <a:gd name="connsiteX6" fmla="*/ 5525 w 10000"/>
              <a:gd name="connsiteY6" fmla="*/ 5091 h 10364"/>
              <a:gd name="connsiteX7" fmla="*/ 3868 w 10000"/>
              <a:gd name="connsiteY7" fmla="*/ 8741 h 10364"/>
              <a:gd name="connsiteX8" fmla="*/ 1783 w 10000"/>
              <a:gd name="connsiteY8" fmla="*/ 10297 h 10364"/>
              <a:gd name="connsiteX9" fmla="*/ 0 w 10000"/>
              <a:gd name="connsiteY9" fmla="*/ 10017 h 10364"/>
              <a:gd name="connsiteX10" fmla="*/ 0 w 10000"/>
              <a:gd name="connsiteY10" fmla="*/ 27 h 10364"/>
              <a:gd name="connsiteX0" fmla="*/ 0 w 9934"/>
              <a:gd name="connsiteY0" fmla="*/ 0 h 10337"/>
              <a:gd name="connsiteX1" fmla="*/ 2426 w 9934"/>
              <a:gd name="connsiteY1" fmla="*/ 118 h 10337"/>
              <a:gd name="connsiteX2" fmla="*/ 5015 w 9934"/>
              <a:gd name="connsiteY2" fmla="*/ 267 h 10337"/>
              <a:gd name="connsiteX3" fmla="*/ 7500 w 9934"/>
              <a:gd name="connsiteY3" fmla="*/ 5 h 10337"/>
              <a:gd name="connsiteX4" fmla="*/ 9934 w 9934"/>
              <a:gd name="connsiteY4" fmla="*/ 463 h 10337"/>
              <a:gd name="connsiteX5" fmla="*/ 8442 w 9934"/>
              <a:gd name="connsiteY5" fmla="*/ 3508 h 10337"/>
              <a:gd name="connsiteX6" fmla="*/ 5525 w 9934"/>
              <a:gd name="connsiteY6" fmla="*/ 5064 h 10337"/>
              <a:gd name="connsiteX7" fmla="*/ 3868 w 9934"/>
              <a:gd name="connsiteY7" fmla="*/ 8714 h 10337"/>
              <a:gd name="connsiteX8" fmla="*/ 1783 w 9934"/>
              <a:gd name="connsiteY8" fmla="*/ 10270 h 10337"/>
              <a:gd name="connsiteX9" fmla="*/ 0 w 9934"/>
              <a:gd name="connsiteY9" fmla="*/ 9990 h 10337"/>
              <a:gd name="connsiteX10" fmla="*/ 0 w 9934"/>
              <a:gd name="connsiteY10" fmla="*/ 0 h 10337"/>
              <a:gd name="connsiteX0" fmla="*/ 0 w 10067"/>
              <a:gd name="connsiteY0" fmla="*/ 0 h 9999"/>
              <a:gd name="connsiteX1" fmla="*/ 2442 w 10067"/>
              <a:gd name="connsiteY1" fmla="*/ 114 h 9999"/>
              <a:gd name="connsiteX2" fmla="*/ 5048 w 10067"/>
              <a:gd name="connsiteY2" fmla="*/ 258 h 9999"/>
              <a:gd name="connsiteX3" fmla="*/ 7550 w 10067"/>
              <a:gd name="connsiteY3" fmla="*/ 5 h 9999"/>
              <a:gd name="connsiteX4" fmla="*/ 10067 w 10067"/>
              <a:gd name="connsiteY4" fmla="*/ 426 h 9999"/>
              <a:gd name="connsiteX5" fmla="*/ 8498 w 10067"/>
              <a:gd name="connsiteY5" fmla="*/ 3394 h 9999"/>
              <a:gd name="connsiteX6" fmla="*/ 5562 w 10067"/>
              <a:gd name="connsiteY6" fmla="*/ 4899 h 9999"/>
              <a:gd name="connsiteX7" fmla="*/ 3894 w 10067"/>
              <a:gd name="connsiteY7" fmla="*/ 8430 h 9999"/>
              <a:gd name="connsiteX8" fmla="*/ 1795 w 10067"/>
              <a:gd name="connsiteY8" fmla="*/ 9935 h 9999"/>
              <a:gd name="connsiteX9" fmla="*/ 0 w 10067"/>
              <a:gd name="connsiteY9" fmla="*/ 9664 h 9999"/>
              <a:gd name="connsiteX10" fmla="*/ 0 w 10067"/>
              <a:gd name="connsiteY10" fmla="*/ 0 h 9999"/>
              <a:gd name="connsiteX0" fmla="*/ 0 w 9959"/>
              <a:gd name="connsiteY0" fmla="*/ 21 h 10021"/>
              <a:gd name="connsiteX1" fmla="*/ 2426 w 9959"/>
              <a:gd name="connsiteY1" fmla="*/ 135 h 10021"/>
              <a:gd name="connsiteX2" fmla="*/ 5014 w 9959"/>
              <a:gd name="connsiteY2" fmla="*/ 279 h 10021"/>
              <a:gd name="connsiteX3" fmla="*/ 7500 w 9959"/>
              <a:gd name="connsiteY3" fmla="*/ 26 h 10021"/>
              <a:gd name="connsiteX4" fmla="*/ 9959 w 9959"/>
              <a:gd name="connsiteY4" fmla="*/ 370 h 10021"/>
              <a:gd name="connsiteX5" fmla="*/ 8441 w 9959"/>
              <a:gd name="connsiteY5" fmla="*/ 3415 h 10021"/>
              <a:gd name="connsiteX6" fmla="*/ 5525 w 9959"/>
              <a:gd name="connsiteY6" fmla="*/ 4920 h 10021"/>
              <a:gd name="connsiteX7" fmla="*/ 3868 w 9959"/>
              <a:gd name="connsiteY7" fmla="*/ 8452 h 10021"/>
              <a:gd name="connsiteX8" fmla="*/ 1783 w 9959"/>
              <a:gd name="connsiteY8" fmla="*/ 9957 h 10021"/>
              <a:gd name="connsiteX9" fmla="*/ 0 w 9959"/>
              <a:gd name="connsiteY9" fmla="*/ 9686 h 10021"/>
              <a:gd name="connsiteX10" fmla="*/ 0 w 9959"/>
              <a:gd name="connsiteY10" fmla="*/ 21 h 10021"/>
              <a:gd name="connsiteX0" fmla="*/ 0 w 10000"/>
              <a:gd name="connsiteY0" fmla="*/ 0 h 9979"/>
              <a:gd name="connsiteX1" fmla="*/ 2436 w 10000"/>
              <a:gd name="connsiteY1" fmla="*/ 114 h 9979"/>
              <a:gd name="connsiteX2" fmla="*/ 5035 w 10000"/>
              <a:gd name="connsiteY2" fmla="*/ 257 h 9979"/>
              <a:gd name="connsiteX3" fmla="*/ 7569 w 10000"/>
              <a:gd name="connsiteY3" fmla="*/ 312 h 9979"/>
              <a:gd name="connsiteX4" fmla="*/ 10000 w 10000"/>
              <a:gd name="connsiteY4" fmla="*/ 348 h 9979"/>
              <a:gd name="connsiteX5" fmla="*/ 8476 w 10000"/>
              <a:gd name="connsiteY5" fmla="*/ 3387 h 9979"/>
              <a:gd name="connsiteX6" fmla="*/ 5548 w 10000"/>
              <a:gd name="connsiteY6" fmla="*/ 4889 h 9979"/>
              <a:gd name="connsiteX7" fmla="*/ 3884 w 10000"/>
              <a:gd name="connsiteY7" fmla="*/ 8413 h 9979"/>
              <a:gd name="connsiteX8" fmla="*/ 1790 w 10000"/>
              <a:gd name="connsiteY8" fmla="*/ 9915 h 9979"/>
              <a:gd name="connsiteX9" fmla="*/ 0 w 10000"/>
              <a:gd name="connsiteY9" fmla="*/ 9645 h 9979"/>
              <a:gd name="connsiteX10" fmla="*/ 0 w 10000"/>
              <a:gd name="connsiteY10" fmla="*/ 0 h 9979"/>
              <a:gd name="connsiteX0" fmla="*/ 0 w 10000"/>
              <a:gd name="connsiteY0" fmla="*/ 0 h 10000"/>
              <a:gd name="connsiteX1" fmla="*/ 2436 w 10000"/>
              <a:gd name="connsiteY1" fmla="*/ 114 h 10000"/>
              <a:gd name="connsiteX2" fmla="*/ 5035 w 10000"/>
              <a:gd name="connsiteY2" fmla="*/ 309 h 10000"/>
              <a:gd name="connsiteX3" fmla="*/ 7569 w 10000"/>
              <a:gd name="connsiteY3" fmla="*/ 313 h 10000"/>
              <a:gd name="connsiteX4" fmla="*/ 10000 w 10000"/>
              <a:gd name="connsiteY4" fmla="*/ 349 h 10000"/>
              <a:gd name="connsiteX5" fmla="*/ 8476 w 10000"/>
              <a:gd name="connsiteY5" fmla="*/ 3394 h 10000"/>
              <a:gd name="connsiteX6" fmla="*/ 5548 w 10000"/>
              <a:gd name="connsiteY6" fmla="*/ 4899 h 10000"/>
              <a:gd name="connsiteX7" fmla="*/ 3884 w 10000"/>
              <a:gd name="connsiteY7" fmla="*/ 8431 h 10000"/>
              <a:gd name="connsiteX8" fmla="*/ 1790 w 10000"/>
              <a:gd name="connsiteY8" fmla="*/ 9936 h 10000"/>
              <a:gd name="connsiteX9" fmla="*/ 0 w 10000"/>
              <a:gd name="connsiteY9" fmla="*/ 9665 h 10000"/>
              <a:gd name="connsiteX10" fmla="*/ 0 w 10000"/>
              <a:gd name="connsiteY10" fmla="*/ 0 h 10000"/>
              <a:gd name="connsiteX0" fmla="*/ 0 w 10000"/>
              <a:gd name="connsiteY0" fmla="*/ 0 h 10000"/>
              <a:gd name="connsiteX1" fmla="*/ 2436 w 10000"/>
              <a:gd name="connsiteY1" fmla="*/ 114 h 10000"/>
              <a:gd name="connsiteX2" fmla="*/ 5035 w 10000"/>
              <a:gd name="connsiteY2" fmla="*/ 309 h 10000"/>
              <a:gd name="connsiteX3" fmla="*/ 7569 w 10000"/>
              <a:gd name="connsiteY3" fmla="*/ 313 h 10000"/>
              <a:gd name="connsiteX4" fmla="*/ 10000 w 10000"/>
              <a:gd name="connsiteY4" fmla="*/ 349 h 10000"/>
              <a:gd name="connsiteX5" fmla="*/ 8476 w 10000"/>
              <a:gd name="connsiteY5" fmla="*/ 3394 h 10000"/>
              <a:gd name="connsiteX6" fmla="*/ 5548 w 10000"/>
              <a:gd name="connsiteY6" fmla="*/ 4899 h 10000"/>
              <a:gd name="connsiteX7" fmla="*/ 3884 w 10000"/>
              <a:gd name="connsiteY7" fmla="*/ 8431 h 10000"/>
              <a:gd name="connsiteX8" fmla="*/ 1790 w 10000"/>
              <a:gd name="connsiteY8" fmla="*/ 9936 h 10000"/>
              <a:gd name="connsiteX9" fmla="*/ 0 w 10000"/>
              <a:gd name="connsiteY9" fmla="*/ 9665 h 10000"/>
              <a:gd name="connsiteX10" fmla="*/ 0 w 10000"/>
              <a:gd name="connsiteY10" fmla="*/ 0 h 10000"/>
              <a:gd name="connsiteX0" fmla="*/ 0 w 10000"/>
              <a:gd name="connsiteY0" fmla="*/ 0 h 10000"/>
              <a:gd name="connsiteX1" fmla="*/ 2428 w 10000"/>
              <a:gd name="connsiteY1" fmla="*/ 247 h 10000"/>
              <a:gd name="connsiteX2" fmla="*/ 5035 w 10000"/>
              <a:gd name="connsiteY2" fmla="*/ 309 h 10000"/>
              <a:gd name="connsiteX3" fmla="*/ 7569 w 10000"/>
              <a:gd name="connsiteY3" fmla="*/ 313 h 10000"/>
              <a:gd name="connsiteX4" fmla="*/ 10000 w 10000"/>
              <a:gd name="connsiteY4" fmla="*/ 349 h 10000"/>
              <a:gd name="connsiteX5" fmla="*/ 8476 w 10000"/>
              <a:gd name="connsiteY5" fmla="*/ 3394 h 10000"/>
              <a:gd name="connsiteX6" fmla="*/ 5548 w 10000"/>
              <a:gd name="connsiteY6" fmla="*/ 4899 h 10000"/>
              <a:gd name="connsiteX7" fmla="*/ 3884 w 10000"/>
              <a:gd name="connsiteY7" fmla="*/ 8431 h 10000"/>
              <a:gd name="connsiteX8" fmla="*/ 1790 w 10000"/>
              <a:gd name="connsiteY8" fmla="*/ 9936 h 10000"/>
              <a:gd name="connsiteX9" fmla="*/ 0 w 10000"/>
              <a:gd name="connsiteY9" fmla="*/ 9665 h 10000"/>
              <a:gd name="connsiteX10" fmla="*/ 0 w 10000"/>
              <a:gd name="connsiteY10" fmla="*/ 0 h 10000"/>
              <a:gd name="connsiteX0" fmla="*/ 0 w 10000"/>
              <a:gd name="connsiteY0" fmla="*/ 0 h 10000"/>
              <a:gd name="connsiteX1" fmla="*/ 2428 w 10000"/>
              <a:gd name="connsiteY1" fmla="*/ 247 h 10000"/>
              <a:gd name="connsiteX2" fmla="*/ 5035 w 10000"/>
              <a:gd name="connsiteY2" fmla="*/ 309 h 10000"/>
              <a:gd name="connsiteX3" fmla="*/ 7569 w 10000"/>
              <a:gd name="connsiteY3" fmla="*/ 313 h 10000"/>
              <a:gd name="connsiteX4" fmla="*/ 10000 w 10000"/>
              <a:gd name="connsiteY4" fmla="*/ 349 h 10000"/>
              <a:gd name="connsiteX5" fmla="*/ 8476 w 10000"/>
              <a:gd name="connsiteY5" fmla="*/ 3394 h 10000"/>
              <a:gd name="connsiteX6" fmla="*/ 5548 w 10000"/>
              <a:gd name="connsiteY6" fmla="*/ 4899 h 10000"/>
              <a:gd name="connsiteX7" fmla="*/ 3884 w 10000"/>
              <a:gd name="connsiteY7" fmla="*/ 8431 h 10000"/>
              <a:gd name="connsiteX8" fmla="*/ 1790 w 10000"/>
              <a:gd name="connsiteY8" fmla="*/ 9936 h 10000"/>
              <a:gd name="connsiteX9" fmla="*/ 0 w 10000"/>
              <a:gd name="connsiteY9" fmla="*/ 9665 h 10000"/>
              <a:gd name="connsiteX10" fmla="*/ 0 w 10000"/>
              <a:gd name="connsiteY10" fmla="*/ 0 h 10000"/>
              <a:gd name="connsiteX0" fmla="*/ 0 w 10000"/>
              <a:gd name="connsiteY0" fmla="*/ 0 h 10000"/>
              <a:gd name="connsiteX1" fmla="*/ 2428 w 10000"/>
              <a:gd name="connsiteY1" fmla="*/ 319 h 10000"/>
              <a:gd name="connsiteX2" fmla="*/ 5035 w 10000"/>
              <a:gd name="connsiteY2" fmla="*/ 309 h 10000"/>
              <a:gd name="connsiteX3" fmla="*/ 7569 w 10000"/>
              <a:gd name="connsiteY3" fmla="*/ 313 h 10000"/>
              <a:gd name="connsiteX4" fmla="*/ 10000 w 10000"/>
              <a:gd name="connsiteY4" fmla="*/ 349 h 10000"/>
              <a:gd name="connsiteX5" fmla="*/ 8476 w 10000"/>
              <a:gd name="connsiteY5" fmla="*/ 3394 h 10000"/>
              <a:gd name="connsiteX6" fmla="*/ 5548 w 10000"/>
              <a:gd name="connsiteY6" fmla="*/ 4899 h 10000"/>
              <a:gd name="connsiteX7" fmla="*/ 3884 w 10000"/>
              <a:gd name="connsiteY7" fmla="*/ 8431 h 10000"/>
              <a:gd name="connsiteX8" fmla="*/ 1790 w 10000"/>
              <a:gd name="connsiteY8" fmla="*/ 9936 h 10000"/>
              <a:gd name="connsiteX9" fmla="*/ 0 w 10000"/>
              <a:gd name="connsiteY9" fmla="*/ 9665 h 10000"/>
              <a:gd name="connsiteX10" fmla="*/ 0 w 10000"/>
              <a:gd name="connsiteY10" fmla="*/ 0 h 10000"/>
              <a:gd name="connsiteX0" fmla="*/ 0 w 10008"/>
              <a:gd name="connsiteY0" fmla="*/ 133 h 9897"/>
              <a:gd name="connsiteX1" fmla="*/ 2436 w 10008"/>
              <a:gd name="connsiteY1" fmla="*/ 216 h 9897"/>
              <a:gd name="connsiteX2" fmla="*/ 5043 w 10008"/>
              <a:gd name="connsiteY2" fmla="*/ 206 h 9897"/>
              <a:gd name="connsiteX3" fmla="*/ 7577 w 10008"/>
              <a:gd name="connsiteY3" fmla="*/ 210 h 9897"/>
              <a:gd name="connsiteX4" fmla="*/ 10008 w 10008"/>
              <a:gd name="connsiteY4" fmla="*/ 246 h 9897"/>
              <a:gd name="connsiteX5" fmla="*/ 8484 w 10008"/>
              <a:gd name="connsiteY5" fmla="*/ 3291 h 9897"/>
              <a:gd name="connsiteX6" fmla="*/ 5556 w 10008"/>
              <a:gd name="connsiteY6" fmla="*/ 4796 h 9897"/>
              <a:gd name="connsiteX7" fmla="*/ 3892 w 10008"/>
              <a:gd name="connsiteY7" fmla="*/ 8328 h 9897"/>
              <a:gd name="connsiteX8" fmla="*/ 1798 w 10008"/>
              <a:gd name="connsiteY8" fmla="*/ 9833 h 9897"/>
              <a:gd name="connsiteX9" fmla="*/ 8 w 10008"/>
              <a:gd name="connsiteY9" fmla="*/ 9562 h 9897"/>
              <a:gd name="connsiteX10" fmla="*/ 0 w 10008"/>
              <a:gd name="connsiteY10" fmla="*/ 133 h 9897"/>
              <a:gd name="connsiteX0" fmla="*/ 0 w 10000"/>
              <a:gd name="connsiteY0" fmla="*/ 134 h 10000"/>
              <a:gd name="connsiteX1" fmla="*/ 2434 w 10000"/>
              <a:gd name="connsiteY1" fmla="*/ 218 h 10000"/>
              <a:gd name="connsiteX2" fmla="*/ 5039 w 10000"/>
              <a:gd name="connsiteY2" fmla="*/ 208 h 10000"/>
              <a:gd name="connsiteX3" fmla="*/ 7571 w 10000"/>
              <a:gd name="connsiteY3" fmla="*/ 212 h 10000"/>
              <a:gd name="connsiteX4" fmla="*/ 10000 w 10000"/>
              <a:gd name="connsiteY4" fmla="*/ 249 h 10000"/>
              <a:gd name="connsiteX5" fmla="*/ 8477 w 10000"/>
              <a:gd name="connsiteY5" fmla="*/ 3325 h 10000"/>
              <a:gd name="connsiteX6" fmla="*/ 5552 w 10000"/>
              <a:gd name="connsiteY6" fmla="*/ 4846 h 10000"/>
              <a:gd name="connsiteX7" fmla="*/ 3889 w 10000"/>
              <a:gd name="connsiteY7" fmla="*/ 8415 h 10000"/>
              <a:gd name="connsiteX8" fmla="*/ 1797 w 10000"/>
              <a:gd name="connsiteY8" fmla="*/ 9935 h 10000"/>
              <a:gd name="connsiteX9" fmla="*/ 8 w 10000"/>
              <a:gd name="connsiteY9" fmla="*/ 9662 h 10000"/>
              <a:gd name="connsiteX10" fmla="*/ 0 w 10000"/>
              <a:gd name="connsiteY10" fmla="*/ 134 h 10000"/>
              <a:gd name="connsiteX0" fmla="*/ 78 w 9993"/>
              <a:gd name="connsiteY0" fmla="*/ 196 h 10000"/>
              <a:gd name="connsiteX1" fmla="*/ 2427 w 9993"/>
              <a:gd name="connsiteY1" fmla="*/ 218 h 10000"/>
              <a:gd name="connsiteX2" fmla="*/ 5032 w 9993"/>
              <a:gd name="connsiteY2" fmla="*/ 208 h 10000"/>
              <a:gd name="connsiteX3" fmla="*/ 7564 w 9993"/>
              <a:gd name="connsiteY3" fmla="*/ 212 h 10000"/>
              <a:gd name="connsiteX4" fmla="*/ 9993 w 9993"/>
              <a:gd name="connsiteY4" fmla="*/ 249 h 10000"/>
              <a:gd name="connsiteX5" fmla="*/ 8470 w 9993"/>
              <a:gd name="connsiteY5" fmla="*/ 3325 h 10000"/>
              <a:gd name="connsiteX6" fmla="*/ 5545 w 9993"/>
              <a:gd name="connsiteY6" fmla="*/ 4846 h 10000"/>
              <a:gd name="connsiteX7" fmla="*/ 3882 w 9993"/>
              <a:gd name="connsiteY7" fmla="*/ 8415 h 10000"/>
              <a:gd name="connsiteX8" fmla="*/ 1790 w 9993"/>
              <a:gd name="connsiteY8" fmla="*/ 9935 h 10000"/>
              <a:gd name="connsiteX9" fmla="*/ 1 w 9993"/>
              <a:gd name="connsiteY9" fmla="*/ 9662 h 10000"/>
              <a:gd name="connsiteX10" fmla="*/ 78 w 9993"/>
              <a:gd name="connsiteY10" fmla="*/ 196 h 10000"/>
              <a:gd name="connsiteX0" fmla="*/ 0 w 9922"/>
              <a:gd name="connsiteY0" fmla="*/ 196 h 10005"/>
              <a:gd name="connsiteX1" fmla="*/ 2351 w 9922"/>
              <a:gd name="connsiteY1" fmla="*/ 218 h 10005"/>
              <a:gd name="connsiteX2" fmla="*/ 4958 w 9922"/>
              <a:gd name="connsiteY2" fmla="*/ 208 h 10005"/>
              <a:gd name="connsiteX3" fmla="*/ 7491 w 9922"/>
              <a:gd name="connsiteY3" fmla="*/ 212 h 10005"/>
              <a:gd name="connsiteX4" fmla="*/ 9922 w 9922"/>
              <a:gd name="connsiteY4" fmla="*/ 249 h 10005"/>
              <a:gd name="connsiteX5" fmla="*/ 8398 w 9922"/>
              <a:gd name="connsiteY5" fmla="*/ 3325 h 10005"/>
              <a:gd name="connsiteX6" fmla="*/ 5471 w 9922"/>
              <a:gd name="connsiteY6" fmla="*/ 4846 h 10005"/>
              <a:gd name="connsiteX7" fmla="*/ 3807 w 9922"/>
              <a:gd name="connsiteY7" fmla="*/ 8415 h 10005"/>
              <a:gd name="connsiteX8" fmla="*/ 1713 w 9922"/>
              <a:gd name="connsiteY8" fmla="*/ 9935 h 10005"/>
              <a:gd name="connsiteX9" fmla="*/ 31 w 9922"/>
              <a:gd name="connsiteY9" fmla="*/ 9672 h 10005"/>
              <a:gd name="connsiteX10" fmla="*/ 0 w 9922"/>
              <a:gd name="connsiteY10" fmla="*/ 196 h 1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2" h="10005">
                <a:moveTo>
                  <a:pt x="0" y="196"/>
                </a:moveTo>
                <a:lnTo>
                  <a:pt x="2351" y="218"/>
                </a:lnTo>
                <a:lnTo>
                  <a:pt x="4958" y="208"/>
                </a:lnTo>
                <a:lnTo>
                  <a:pt x="7491" y="212"/>
                </a:lnTo>
                <a:cubicBezTo>
                  <a:pt x="8318" y="219"/>
                  <a:pt x="9922" y="-291"/>
                  <a:pt x="9922" y="249"/>
                </a:cubicBezTo>
                <a:cubicBezTo>
                  <a:pt x="9758" y="1606"/>
                  <a:pt x="9324" y="2599"/>
                  <a:pt x="8398" y="3325"/>
                </a:cubicBezTo>
                <a:cubicBezTo>
                  <a:pt x="7191" y="4168"/>
                  <a:pt x="6352" y="3974"/>
                  <a:pt x="5471" y="4846"/>
                </a:cubicBezTo>
                <a:cubicBezTo>
                  <a:pt x="4588" y="5718"/>
                  <a:pt x="4259" y="7645"/>
                  <a:pt x="3807" y="8415"/>
                </a:cubicBezTo>
                <a:cubicBezTo>
                  <a:pt x="3354" y="9185"/>
                  <a:pt x="2809" y="10125"/>
                  <a:pt x="1713" y="9935"/>
                </a:cubicBezTo>
                <a:cubicBezTo>
                  <a:pt x="327" y="9935"/>
                  <a:pt x="31" y="10211"/>
                  <a:pt x="31" y="9672"/>
                </a:cubicBezTo>
                <a:cubicBezTo>
                  <a:pt x="28" y="6496"/>
                  <a:pt x="3" y="3372"/>
                  <a:pt x="0" y="196"/>
                </a:cubicBezTo>
                <a:close/>
              </a:path>
            </a:pathLst>
          </a:custGeom>
          <a:solidFill>
            <a:schemeClr val="bg2">
              <a:lumMod val="75000"/>
            </a:schemeClr>
          </a:solidFill>
        </p:spPr>
        <p:txBody>
          <a:bodyPr/>
          <a:lstStyle/>
          <a:p>
            <a:endParaRPr lang="en-MX"/>
          </a:p>
        </p:txBody>
      </p:sp>
      <p:sp>
        <p:nvSpPr>
          <p:cNvPr id="13" name="Title 1">
            <a:extLst>
              <a:ext uri="{FF2B5EF4-FFF2-40B4-BE49-F238E27FC236}">
                <a16:creationId xmlns:a16="http://schemas.microsoft.com/office/drawing/2014/main" id="{00F653BF-CBDB-3F4B-9CC6-EDD97645A2BD}"/>
              </a:ext>
            </a:extLst>
          </p:cNvPr>
          <p:cNvSpPr>
            <a:spLocks noGrp="1"/>
          </p:cNvSpPr>
          <p:nvPr>
            <p:ph type="ctrTitle" hasCustomPrompt="1"/>
          </p:nvPr>
        </p:nvSpPr>
        <p:spPr>
          <a:xfrm>
            <a:off x="6623738" y="4988948"/>
            <a:ext cx="4906548" cy="685800"/>
          </a:xfrm>
          <a:prstGeom prst="rect">
            <a:avLst/>
          </a:prstGeom>
        </p:spPr>
        <p:txBody>
          <a:bodyPr lIns="0" tIns="0" rIns="0" bIns="0" anchor="t" anchorCtr="0"/>
          <a:lstStyle>
            <a:lvl1pPr algn="l">
              <a:defRPr sz="5500">
                <a:solidFill>
                  <a:srgbClr val="41A928"/>
                </a:solidFill>
              </a:defRPr>
            </a:lvl1pPr>
          </a:lstStyle>
          <a:p>
            <a:r>
              <a:rPr lang="en-US" dirty="0"/>
              <a:t>Click to edit title</a:t>
            </a:r>
          </a:p>
        </p:txBody>
      </p:sp>
      <p:sp>
        <p:nvSpPr>
          <p:cNvPr id="14" name="Subtitle 2">
            <a:extLst>
              <a:ext uri="{FF2B5EF4-FFF2-40B4-BE49-F238E27FC236}">
                <a16:creationId xmlns:a16="http://schemas.microsoft.com/office/drawing/2014/main" id="{AA6CA81F-1D28-A54D-93FC-5536EB1B4DAA}"/>
              </a:ext>
            </a:extLst>
          </p:cNvPr>
          <p:cNvSpPr>
            <a:spLocks noGrp="1"/>
          </p:cNvSpPr>
          <p:nvPr>
            <p:ph type="subTitle" idx="1" hasCustomPrompt="1"/>
          </p:nvPr>
        </p:nvSpPr>
        <p:spPr>
          <a:xfrm>
            <a:off x="6623738" y="5745014"/>
            <a:ext cx="4906548" cy="365760"/>
          </a:xfrm>
          <a:prstGeom prst="rect">
            <a:avLst/>
          </a:prstGeom>
        </p:spPr>
        <p:txBody>
          <a:bodyPr vert="horz" lIns="0" rIns="0" bIns="0" anchor="t" anchorCtr="0">
            <a:noAutofit/>
          </a:bodyPr>
          <a:lstStyle>
            <a:lvl1pPr marL="0" indent="0" algn="l">
              <a:buNone/>
              <a:defRPr sz="2500">
                <a:solidFill>
                  <a:srgbClr val="41A92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pic>
        <p:nvPicPr>
          <p:cNvPr id="15" name="Picture 14" descr="A picture containing text, clipart&#10;&#10;Description automatically generated">
            <a:extLst>
              <a:ext uri="{FF2B5EF4-FFF2-40B4-BE49-F238E27FC236}">
                <a16:creationId xmlns:a16="http://schemas.microsoft.com/office/drawing/2014/main" id="{93606F15-C5A9-754C-B57C-C974E7A97985}"/>
              </a:ext>
            </a:extLst>
          </p:cNvPr>
          <p:cNvPicPr>
            <a:picLocks noChangeAspect="1"/>
          </p:cNvPicPr>
          <p:nvPr userDrawn="1"/>
        </p:nvPicPr>
        <p:blipFill>
          <a:blip r:embed="rId2"/>
          <a:stretch>
            <a:fillRect/>
          </a:stretch>
        </p:blipFill>
        <p:spPr>
          <a:xfrm>
            <a:off x="6623738" y="4198859"/>
            <a:ext cx="2249814" cy="251624"/>
          </a:xfrm>
          <a:prstGeom prst="rect">
            <a:avLst/>
          </a:prstGeom>
        </p:spPr>
      </p:pic>
      <p:pic>
        <p:nvPicPr>
          <p:cNvPr id="25" name="Picture 24">
            <a:extLst>
              <a:ext uri="{FF2B5EF4-FFF2-40B4-BE49-F238E27FC236}">
                <a16:creationId xmlns:a16="http://schemas.microsoft.com/office/drawing/2014/main" id="{09919716-8589-D741-981F-042153EFEA54}"/>
              </a:ext>
            </a:extLst>
          </p:cNvPr>
          <p:cNvPicPr>
            <a:picLocks noChangeAspect="1"/>
          </p:cNvPicPr>
          <p:nvPr userDrawn="1"/>
        </p:nvPicPr>
        <p:blipFill>
          <a:blip r:embed="rId3"/>
          <a:stretch>
            <a:fillRect/>
          </a:stretch>
        </p:blipFill>
        <p:spPr>
          <a:xfrm>
            <a:off x="0" y="-35859"/>
            <a:ext cx="10183906" cy="6904951"/>
          </a:xfrm>
          <a:prstGeom prst="rect">
            <a:avLst/>
          </a:prstGeom>
        </p:spPr>
      </p:pic>
    </p:spTree>
    <p:extLst>
      <p:ext uri="{BB962C8B-B14F-4D97-AF65-F5344CB8AC3E}">
        <p14:creationId xmlns:p14="http://schemas.microsoft.com/office/powerpoint/2010/main" val="3562648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side_Blank_Wave 1">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8D8CF1D5-E210-8E46-8D24-E99B85A89526}"/>
              </a:ext>
            </a:extLst>
          </p:cNvPr>
          <p:cNvSpPr>
            <a:spLocks noGrp="1"/>
          </p:cNvSpPr>
          <p:nvPr>
            <p:ph type="title" hasCustomPrompt="1"/>
          </p:nvPr>
        </p:nvSpPr>
        <p:spPr>
          <a:xfrm>
            <a:off x="914400" y="219575"/>
            <a:ext cx="10332720" cy="457200"/>
          </a:xfrm>
          <a:prstGeom prst="rect">
            <a:avLst/>
          </a:prstGeom>
        </p:spPr>
        <p:txBody>
          <a:bodyPr wrap="square" lIns="0" tIns="0" rIns="0" bIns="0" anchor="t" anchorCtr="0">
            <a:noAutofit/>
          </a:bodyPr>
          <a:lstStyle>
            <a:lvl1pPr>
              <a:defRPr sz="4000">
                <a:solidFill>
                  <a:schemeClr val="bg1"/>
                </a:solidFill>
              </a:defRPr>
            </a:lvl1pPr>
          </a:lstStyle>
          <a:p>
            <a:r>
              <a:rPr lang="en-US" dirty="0"/>
              <a:t>Click to add title</a:t>
            </a:r>
          </a:p>
        </p:txBody>
      </p:sp>
      <p:sp>
        <p:nvSpPr>
          <p:cNvPr id="6" name="Text Placeholder 16">
            <a:extLst>
              <a:ext uri="{FF2B5EF4-FFF2-40B4-BE49-F238E27FC236}">
                <a16:creationId xmlns:a16="http://schemas.microsoft.com/office/drawing/2014/main" id="{438B0F32-63F1-4A4A-A7F7-68601156F39E}"/>
              </a:ext>
            </a:extLst>
          </p:cNvPr>
          <p:cNvSpPr>
            <a:spLocks noGrp="1"/>
          </p:cNvSpPr>
          <p:nvPr>
            <p:ph type="body" sz="quarter" idx="13" hasCustomPrompt="1"/>
          </p:nvPr>
        </p:nvSpPr>
        <p:spPr>
          <a:xfrm>
            <a:off x="914400" y="748146"/>
            <a:ext cx="10333038" cy="274320"/>
          </a:xfrm>
        </p:spPr>
        <p:txBody>
          <a:bodyPr wrap="square" lIns="0" tIns="0" rIns="0" bIns="0" anchor="t" anchorCtr="0">
            <a:noAutofit/>
          </a:bodyPr>
          <a:lstStyle>
            <a:lvl1pPr marL="0" indent="0" algn="l">
              <a:buNone/>
              <a:defRPr sz="2200">
                <a:solidFill>
                  <a:schemeClr val="bg1"/>
                </a:solidFill>
                <a:latin typeface="+mj-lt"/>
              </a:defRPr>
            </a:lvl1pPr>
            <a:lvl3pPr marL="914400" indent="0">
              <a:buNone/>
              <a:defRPr sz="2200">
                <a:solidFill>
                  <a:schemeClr val="bg1"/>
                </a:solidFill>
                <a:latin typeface="+mj-lt"/>
              </a:defRPr>
            </a:lvl3pPr>
          </a:lstStyle>
          <a:p>
            <a:pPr lvl="0"/>
            <a:r>
              <a:rPr lang="en-US" dirty="0"/>
              <a:t>Click to edit subhead 1</a:t>
            </a:r>
          </a:p>
        </p:txBody>
      </p:sp>
      <p:pic>
        <p:nvPicPr>
          <p:cNvPr id="4" name="Picture 3">
            <a:extLst>
              <a:ext uri="{FF2B5EF4-FFF2-40B4-BE49-F238E27FC236}">
                <a16:creationId xmlns:a16="http://schemas.microsoft.com/office/drawing/2014/main" id="{9AB46ABB-FF11-8346-853C-81032BB3D5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72" y="2681162"/>
            <a:ext cx="294449" cy="294449"/>
          </a:xfrm>
          <a:prstGeom prst="rect">
            <a:avLst/>
          </a:prstGeom>
        </p:spPr>
      </p:pic>
      <p:pic>
        <p:nvPicPr>
          <p:cNvPr id="7" name="Picture 6">
            <a:extLst>
              <a:ext uri="{FF2B5EF4-FFF2-40B4-BE49-F238E27FC236}">
                <a16:creationId xmlns:a16="http://schemas.microsoft.com/office/drawing/2014/main" id="{84D8D9E9-C56F-DB48-8E74-C1F4758D8675}"/>
              </a:ext>
            </a:extLst>
          </p:cNvPr>
          <p:cNvPicPr>
            <a:picLocks noChangeAspect="1"/>
          </p:cNvPicPr>
          <p:nvPr userDrawn="1"/>
        </p:nvPicPr>
        <p:blipFill>
          <a:blip r:embed="rId3"/>
          <a:stretch>
            <a:fillRect/>
          </a:stretch>
        </p:blipFill>
        <p:spPr>
          <a:xfrm>
            <a:off x="388921" y="5189632"/>
            <a:ext cx="508000" cy="508000"/>
          </a:xfrm>
          <a:prstGeom prst="rect">
            <a:avLst/>
          </a:prstGeom>
        </p:spPr>
      </p:pic>
      <p:pic>
        <p:nvPicPr>
          <p:cNvPr id="8" name="Picture 7">
            <a:extLst>
              <a:ext uri="{FF2B5EF4-FFF2-40B4-BE49-F238E27FC236}">
                <a16:creationId xmlns:a16="http://schemas.microsoft.com/office/drawing/2014/main" id="{06A09830-4DAA-AC46-AE8F-E11A899915F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89528" y="2609962"/>
            <a:ext cx="282537" cy="282537"/>
          </a:xfrm>
          <a:prstGeom prst="rect">
            <a:avLst/>
          </a:prstGeom>
        </p:spPr>
      </p:pic>
      <p:pic>
        <p:nvPicPr>
          <p:cNvPr id="9" name="Picture 8">
            <a:extLst>
              <a:ext uri="{FF2B5EF4-FFF2-40B4-BE49-F238E27FC236}">
                <a16:creationId xmlns:a16="http://schemas.microsoft.com/office/drawing/2014/main" id="{634AC312-1511-654E-B353-1CB43216D2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2440" y="5296407"/>
            <a:ext cx="294449" cy="294449"/>
          </a:xfrm>
          <a:prstGeom prst="rect">
            <a:avLst/>
          </a:prstGeom>
        </p:spPr>
      </p:pic>
      <p:pic>
        <p:nvPicPr>
          <p:cNvPr id="3" name="Picture 2" descr="A picture containing text, clipart&#10;&#10;Description automatically generated">
            <a:extLst>
              <a:ext uri="{FF2B5EF4-FFF2-40B4-BE49-F238E27FC236}">
                <a16:creationId xmlns:a16="http://schemas.microsoft.com/office/drawing/2014/main" id="{D2732F37-A525-1A43-B92E-F1EE02BE07C1}"/>
              </a:ext>
            </a:extLst>
          </p:cNvPr>
          <p:cNvPicPr>
            <a:picLocks noChangeAspect="1"/>
          </p:cNvPicPr>
          <p:nvPr userDrawn="1"/>
        </p:nvPicPr>
        <p:blipFill>
          <a:blip r:embed="rId4"/>
          <a:stretch>
            <a:fillRect/>
          </a:stretch>
        </p:blipFill>
        <p:spPr>
          <a:xfrm>
            <a:off x="10133703" y="6325250"/>
            <a:ext cx="1738361" cy="194422"/>
          </a:xfrm>
          <a:prstGeom prst="rect">
            <a:avLst/>
          </a:prstGeom>
        </p:spPr>
      </p:pic>
    </p:spTree>
    <p:extLst>
      <p:ext uri="{BB962C8B-B14F-4D97-AF65-F5344CB8AC3E}">
        <p14:creationId xmlns:p14="http://schemas.microsoft.com/office/powerpoint/2010/main" val="3469451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8952CF-D408-A541-9FF8-121EFF605F26}"/>
              </a:ext>
            </a:extLst>
          </p:cNvPr>
          <p:cNvSpPr>
            <a:spLocks noGrp="1"/>
          </p:cNvSpPr>
          <p:nvPr>
            <p:ph type="body" idx="1"/>
          </p:nvPr>
        </p:nvSpPr>
        <p:spPr>
          <a:xfrm>
            <a:off x="838200" y="2775473"/>
            <a:ext cx="10515600" cy="340149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descr="Rectangle&#10;&#10;Description automatically generated">
            <a:extLst>
              <a:ext uri="{FF2B5EF4-FFF2-40B4-BE49-F238E27FC236}">
                <a16:creationId xmlns:a16="http://schemas.microsoft.com/office/drawing/2014/main" id="{5D6C0CFF-5861-376A-7964-CDA3103A11D5}"/>
              </a:ext>
            </a:extLst>
          </p:cNvPr>
          <p:cNvPicPr>
            <a:picLocks noChangeAspect="1"/>
          </p:cNvPicPr>
          <p:nvPr userDrawn="1"/>
        </p:nvPicPr>
        <p:blipFill>
          <a:blip r:embed="rId51"/>
          <a:stretch>
            <a:fillRect/>
          </a:stretch>
        </p:blipFill>
        <p:spPr>
          <a:xfrm>
            <a:off x="0" y="0"/>
            <a:ext cx="12192000" cy="2186152"/>
          </a:xfrm>
          <a:prstGeom prst="rect">
            <a:avLst/>
          </a:prstGeom>
        </p:spPr>
      </p:pic>
    </p:spTree>
    <p:extLst>
      <p:ext uri="{BB962C8B-B14F-4D97-AF65-F5344CB8AC3E}">
        <p14:creationId xmlns:p14="http://schemas.microsoft.com/office/powerpoint/2010/main" val="3912935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41.xml"/><Relationship Id="rId6" Type="http://schemas.openxmlformats.org/officeDocument/2006/relationships/hyperlink" Target="https://lanehealth.com/hsc-lb-dd-feesdeltadentalins.com" TargetMode="External"/><Relationship Id="rId5" Type="http://schemas.openxmlformats.org/officeDocument/2006/relationships/image" Target="../media/image37.png"/><Relationship Id="rId4" Type="http://schemas.openxmlformats.org/officeDocument/2006/relationships/image" Target="../media/image3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6">
            <a:extLst>
              <a:ext uri="{FF2B5EF4-FFF2-40B4-BE49-F238E27FC236}">
                <a16:creationId xmlns:a16="http://schemas.microsoft.com/office/drawing/2014/main" id="{42FE8695-E0C0-385D-C80A-6F76C3EFB2BB}"/>
              </a:ext>
            </a:extLst>
          </p:cNvPr>
          <p:cNvSpPr txBox="1">
            <a:spLocks/>
          </p:cNvSpPr>
          <p:nvPr/>
        </p:nvSpPr>
        <p:spPr>
          <a:xfrm>
            <a:off x="7853044" y="759799"/>
            <a:ext cx="3153572" cy="27432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000" kern="1200">
                <a:solidFill>
                  <a:srgbClr val="2DB03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spcBef>
                <a:spcPts val="0"/>
              </a:spcBef>
              <a:spcAft>
                <a:spcPts val="400"/>
              </a:spcAft>
            </a:pPr>
            <a:r>
              <a:rPr lang="en-US" sz="1500" dirty="0"/>
              <a:t>Hearing aids and LASIK</a:t>
            </a:r>
          </a:p>
          <a:p>
            <a:pPr marL="0">
              <a:spcBef>
                <a:spcPts val="0"/>
              </a:spcBef>
            </a:pPr>
            <a:r>
              <a:rPr lang="en-US" sz="1400" dirty="0">
                <a:solidFill>
                  <a:schemeClr val="tx1"/>
                </a:solidFill>
              </a:rPr>
              <a:t>Discounts through</a:t>
            </a:r>
            <a:r>
              <a:rPr lang="en-US" sz="1400" dirty="0">
                <a:solidFill>
                  <a:schemeClr val="tx1"/>
                </a:solidFill>
                <a:effectLst/>
              </a:rPr>
              <a:t> Amplifon </a:t>
            </a:r>
            <a:br>
              <a:rPr lang="en-US" sz="1400" dirty="0">
                <a:solidFill>
                  <a:schemeClr val="tx1"/>
                </a:solidFill>
                <a:effectLst/>
              </a:rPr>
            </a:br>
            <a:r>
              <a:rPr lang="en-US" sz="1400" dirty="0">
                <a:solidFill>
                  <a:schemeClr val="tx1"/>
                </a:solidFill>
                <a:effectLst/>
              </a:rPr>
              <a:t>and </a:t>
            </a:r>
            <a:r>
              <a:rPr lang="en-US" sz="1400" dirty="0" err="1">
                <a:solidFill>
                  <a:schemeClr val="tx1"/>
                </a:solidFill>
                <a:effectLst/>
              </a:rPr>
              <a:t>QualSight</a:t>
            </a:r>
            <a:endParaRPr lang="en-US" sz="1400" dirty="0">
              <a:solidFill>
                <a:schemeClr val="tx1"/>
              </a:solidFill>
            </a:endParaRPr>
          </a:p>
          <a:p>
            <a:pPr marL="0">
              <a:spcBef>
                <a:spcPts val="0"/>
              </a:spcBef>
              <a:spcAft>
                <a:spcPts val="400"/>
              </a:spcAft>
            </a:pPr>
            <a:endParaRPr lang="en-US" sz="1500" dirty="0"/>
          </a:p>
          <a:p>
            <a:pPr marL="0">
              <a:spcBef>
                <a:spcPts val="0"/>
              </a:spcBef>
              <a:spcAft>
                <a:spcPts val="400"/>
              </a:spcAft>
            </a:pPr>
            <a:r>
              <a:rPr lang="en-US" sz="1500" dirty="0" err="1"/>
              <a:t>LifePerks</a:t>
            </a:r>
            <a:endParaRPr lang="en-US" sz="1500" dirty="0"/>
          </a:p>
          <a:p>
            <a:pPr marL="0">
              <a:spcBef>
                <a:spcPts val="0"/>
              </a:spcBef>
            </a:pPr>
            <a:r>
              <a:rPr lang="en-US" sz="1400" dirty="0">
                <a:solidFill>
                  <a:schemeClr val="tx1"/>
                </a:solidFill>
              </a:rPr>
              <a:t>Discounts on oral health products, services, memberships and more</a:t>
            </a:r>
          </a:p>
          <a:p>
            <a:pPr marL="0">
              <a:spcBef>
                <a:spcPts val="0"/>
              </a:spcBef>
            </a:pPr>
            <a:endParaRPr lang="en-US" sz="1500" dirty="0">
              <a:solidFill>
                <a:schemeClr val="tx1"/>
              </a:solidFill>
            </a:endParaRPr>
          </a:p>
          <a:p>
            <a:pPr marL="0">
              <a:spcBef>
                <a:spcPts val="0"/>
              </a:spcBef>
              <a:spcAft>
                <a:spcPts val="400"/>
              </a:spcAft>
            </a:pPr>
            <a:r>
              <a:rPr lang="en-US" sz="1500" dirty="0"/>
              <a:t>Wellness resources</a:t>
            </a:r>
          </a:p>
          <a:p>
            <a:pPr marL="0">
              <a:spcBef>
                <a:spcPts val="0"/>
              </a:spcBef>
            </a:pPr>
            <a:r>
              <a:rPr lang="en-US" sz="1400" dirty="0">
                <a:solidFill>
                  <a:schemeClr val="tx1"/>
                </a:solidFill>
              </a:rPr>
              <a:t>Online articles, recipes, videos and more</a:t>
            </a:r>
          </a:p>
          <a:p>
            <a:endParaRPr lang="en-US" sz="1500" dirty="0"/>
          </a:p>
          <a:p>
            <a:endParaRPr lang="en-US" sz="1500" dirty="0"/>
          </a:p>
        </p:txBody>
      </p:sp>
      <p:sp>
        <p:nvSpPr>
          <p:cNvPr id="8" name="Title 7">
            <a:extLst>
              <a:ext uri="{FF2B5EF4-FFF2-40B4-BE49-F238E27FC236}">
                <a16:creationId xmlns:a16="http://schemas.microsoft.com/office/drawing/2014/main" id="{E9B23A76-3AD4-C6C1-6BD6-A407EDE3BD3C}"/>
              </a:ext>
            </a:extLst>
          </p:cNvPr>
          <p:cNvSpPr>
            <a:spLocks noGrp="1"/>
          </p:cNvSpPr>
          <p:nvPr>
            <p:ph type="title"/>
          </p:nvPr>
        </p:nvSpPr>
        <p:spPr>
          <a:xfrm>
            <a:off x="525622" y="396603"/>
            <a:ext cx="10332720" cy="457200"/>
          </a:xfrm>
        </p:spPr>
        <p:txBody>
          <a:bodyPr/>
          <a:lstStyle/>
          <a:p>
            <a:r>
              <a:rPr lang="en-US" dirty="0"/>
              <a:t>Member perks</a:t>
            </a:r>
          </a:p>
        </p:txBody>
      </p:sp>
      <p:sp>
        <p:nvSpPr>
          <p:cNvPr id="9" name="Text Placeholder 8">
            <a:extLst>
              <a:ext uri="{FF2B5EF4-FFF2-40B4-BE49-F238E27FC236}">
                <a16:creationId xmlns:a16="http://schemas.microsoft.com/office/drawing/2014/main" id="{A595A2F6-DB84-2A46-8AFE-F435E0351FD2}"/>
              </a:ext>
            </a:extLst>
          </p:cNvPr>
          <p:cNvSpPr>
            <a:spLocks noGrp="1"/>
          </p:cNvSpPr>
          <p:nvPr>
            <p:ph type="body" sz="quarter" idx="10"/>
          </p:nvPr>
        </p:nvSpPr>
        <p:spPr>
          <a:xfrm>
            <a:off x="525622" y="972675"/>
            <a:ext cx="4450293" cy="274320"/>
          </a:xfrm>
        </p:spPr>
        <p:txBody>
          <a:bodyPr/>
          <a:lstStyle/>
          <a:p>
            <a:r>
              <a:rPr lang="en-US" dirty="0"/>
              <a:t>Extra features, exceptional outcomes</a:t>
            </a:r>
          </a:p>
        </p:txBody>
      </p:sp>
      <p:pic>
        <p:nvPicPr>
          <p:cNvPr id="41" name="Picture Placeholder 27">
            <a:extLst>
              <a:ext uri="{FF2B5EF4-FFF2-40B4-BE49-F238E27FC236}">
                <a16:creationId xmlns:a16="http://schemas.microsoft.com/office/drawing/2014/main" id="{7FD18AD8-2A99-458D-AAFD-A90AEE11639B}"/>
              </a:ext>
            </a:extLst>
          </p:cNvPr>
          <p:cNvPicPr>
            <a:picLocks noChangeAspect="1"/>
          </p:cNvPicPr>
          <p:nvPr/>
        </p:nvPicPr>
        <p:blipFill rotWithShape="1">
          <a:blip r:embed="rId3">
            <a:extLst>
              <a:ext uri="{28A0092B-C50C-407E-A947-70E740481C1C}">
                <a14:useLocalDpi xmlns:a14="http://schemas.microsoft.com/office/drawing/2010/main" val="0"/>
              </a:ext>
            </a:extLst>
          </a:blip>
          <a:srcRect l="19548" r="12293"/>
          <a:stretch/>
        </p:blipFill>
        <p:spPr>
          <a:xfrm>
            <a:off x="-236241" y="2339460"/>
            <a:ext cx="5355099" cy="5062819"/>
          </a:xfrm>
          <a:custGeom>
            <a:avLst/>
            <a:gdLst>
              <a:gd name="connsiteX0" fmla="*/ 4110264 w 4973638"/>
              <a:gd name="connsiteY0" fmla="*/ 3766570 h 4286250"/>
              <a:gd name="connsiteX1" fmla="*/ 1379033 w 4973638"/>
              <a:gd name="connsiteY1" fmla="*/ 4061866 h 4286250"/>
              <a:gd name="connsiteX2" fmla="*/ 112134 w 4973638"/>
              <a:gd name="connsiteY2" fmla="*/ 1506830 h 4286250"/>
              <a:gd name="connsiteX3" fmla="*/ 2486818 w 4973638"/>
              <a:gd name="connsiteY3" fmla="*/ 0 h 4286250"/>
              <a:gd name="connsiteX4" fmla="*/ 4110264 w 4973638"/>
              <a:gd name="connsiteY4" fmla="*/ 3766570 h 4286250"/>
              <a:gd name="connsiteX0" fmla="*/ 4197538 w 4197538"/>
              <a:gd name="connsiteY0" fmla="*/ 3896110 h 4492049"/>
              <a:gd name="connsiteX1" fmla="*/ 1466307 w 4197538"/>
              <a:gd name="connsiteY1" fmla="*/ 4191406 h 4492049"/>
              <a:gd name="connsiteX2" fmla="*/ 73028 w 4197538"/>
              <a:gd name="connsiteY2" fmla="*/ 543551 h 4492049"/>
              <a:gd name="connsiteX3" fmla="*/ 2574092 w 4197538"/>
              <a:gd name="connsiteY3" fmla="*/ 129540 h 4492049"/>
              <a:gd name="connsiteX4" fmla="*/ 4197538 w 4197538"/>
              <a:gd name="connsiteY4" fmla="*/ 3896110 h 4492049"/>
              <a:gd name="connsiteX0" fmla="*/ 4534385 w 4534385"/>
              <a:gd name="connsiteY0" fmla="*/ 3896110 h 4661190"/>
              <a:gd name="connsiteX1" fmla="*/ 398100 w 4534385"/>
              <a:gd name="connsiteY1" fmla="*/ 4421864 h 4661190"/>
              <a:gd name="connsiteX2" fmla="*/ 409875 w 4534385"/>
              <a:gd name="connsiteY2" fmla="*/ 543551 h 4661190"/>
              <a:gd name="connsiteX3" fmla="*/ 2910939 w 4534385"/>
              <a:gd name="connsiteY3" fmla="*/ 129540 h 4661190"/>
              <a:gd name="connsiteX4" fmla="*/ 4534385 w 4534385"/>
              <a:gd name="connsiteY4" fmla="*/ 3896110 h 4661190"/>
              <a:gd name="connsiteX0" fmla="*/ 4566218 w 4566218"/>
              <a:gd name="connsiteY0" fmla="*/ 4401632 h 4865224"/>
              <a:gd name="connsiteX1" fmla="*/ 400196 w 4566218"/>
              <a:gd name="connsiteY1" fmla="*/ 4421864 h 4865224"/>
              <a:gd name="connsiteX2" fmla="*/ 411971 w 4566218"/>
              <a:gd name="connsiteY2" fmla="*/ 543551 h 4865224"/>
              <a:gd name="connsiteX3" fmla="*/ 2913035 w 4566218"/>
              <a:gd name="connsiteY3" fmla="*/ 129540 h 4865224"/>
              <a:gd name="connsiteX4" fmla="*/ 4566218 w 4566218"/>
              <a:gd name="connsiteY4" fmla="*/ 4401632 h 4865224"/>
              <a:gd name="connsiteX0" fmla="*/ 4566218 w 4714775"/>
              <a:gd name="connsiteY0" fmla="*/ 4401632 h 4865224"/>
              <a:gd name="connsiteX1" fmla="*/ 400196 w 4714775"/>
              <a:gd name="connsiteY1" fmla="*/ 4421864 h 4865224"/>
              <a:gd name="connsiteX2" fmla="*/ 411971 w 4714775"/>
              <a:gd name="connsiteY2" fmla="*/ 543551 h 4865224"/>
              <a:gd name="connsiteX3" fmla="*/ 2913035 w 4714775"/>
              <a:gd name="connsiteY3" fmla="*/ 129540 h 4865224"/>
              <a:gd name="connsiteX4" fmla="*/ 4566218 w 4714775"/>
              <a:gd name="connsiteY4" fmla="*/ 4401632 h 4865224"/>
              <a:gd name="connsiteX0" fmla="*/ 4566218 w 4702821"/>
              <a:gd name="connsiteY0" fmla="*/ 4246407 h 4709999"/>
              <a:gd name="connsiteX1" fmla="*/ 400196 w 4702821"/>
              <a:gd name="connsiteY1" fmla="*/ 4266639 h 4709999"/>
              <a:gd name="connsiteX2" fmla="*/ 411971 w 4702821"/>
              <a:gd name="connsiteY2" fmla="*/ 388326 h 4709999"/>
              <a:gd name="connsiteX3" fmla="*/ 2712313 w 4702821"/>
              <a:gd name="connsiteY3" fmla="*/ 427798 h 4709999"/>
              <a:gd name="connsiteX4" fmla="*/ 4566218 w 4702821"/>
              <a:gd name="connsiteY4" fmla="*/ 4246407 h 4709999"/>
              <a:gd name="connsiteX0" fmla="*/ 4566218 w 4726514"/>
              <a:gd name="connsiteY0" fmla="*/ 4246407 h 4709999"/>
              <a:gd name="connsiteX1" fmla="*/ 400196 w 4726514"/>
              <a:gd name="connsiteY1" fmla="*/ 4266639 h 4709999"/>
              <a:gd name="connsiteX2" fmla="*/ 411971 w 4726514"/>
              <a:gd name="connsiteY2" fmla="*/ 388326 h 4709999"/>
              <a:gd name="connsiteX3" fmla="*/ 2712313 w 4726514"/>
              <a:gd name="connsiteY3" fmla="*/ 427798 h 4709999"/>
              <a:gd name="connsiteX4" fmla="*/ 4566218 w 4726514"/>
              <a:gd name="connsiteY4" fmla="*/ 4246407 h 4709999"/>
              <a:gd name="connsiteX0" fmla="*/ 4569610 w 4729906"/>
              <a:gd name="connsiteY0" fmla="*/ 4257640 h 4722205"/>
              <a:gd name="connsiteX1" fmla="*/ 403588 w 4729906"/>
              <a:gd name="connsiteY1" fmla="*/ 4277872 h 4722205"/>
              <a:gd name="connsiteX2" fmla="*/ 407929 w 4729906"/>
              <a:gd name="connsiteY2" fmla="*/ 384690 h 4722205"/>
              <a:gd name="connsiteX3" fmla="*/ 2715705 w 4729906"/>
              <a:gd name="connsiteY3" fmla="*/ 439031 h 4722205"/>
              <a:gd name="connsiteX4" fmla="*/ 4569610 w 4729906"/>
              <a:gd name="connsiteY4" fmla="*/ 4257640 h 4722205"/>
              <a:gd name="connsiteX0" fmla="*/ 4569610 w 4729906"/>
              <a:gd name="connsiteY0" fmla="*/ 3958249 h 4422814"/>
              <a:gd name="connsiteX1" fmla="*/ 403588 w 4729906"/>
              <a:gd name="connsiteY1" fmla="*/ 3978481 h 4422814"/>
              <a:gd name="connsiteX2" fmla="*/ 407929 w 4729906"/>
              <a:gd name="connsiteY2" fmla="*/ 85299 h 4422814"/>
              <a:gd name="connsiteX3" fmla="*/ 2715705 w 4729906"/>
              <a:gd name="connsiteY3" fmla="*/ 139640 h 4422814"/>
              <a:gd name="connsiteX4" fmla="*/ 4569610 w 4729906"/>
              <a:gd name="connsiteY4" fmla="*/ 3958249 h 4422814"/>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4004850 h 4469415"/>
              <a:gd name="connsiteX1" fmla="*/ 403588 w 4729906"/>
              <a:gd name="connsiteY1" fmla="*/ 4025082 h 4469415"/>
              <a:gd name="connsiteX2" fmla="*/ 407929 w 4729906"/>
              <a:gd name="connsiteY2" fmla="*/ 131900 h 4469415"/>
              <a:gd name="connsiteX3" fmla="*/ 2715705 w 4729906"/>
              <a:gd name="connsiteY3" fmla="*/ 186241 h 4469415"/>
              <a:gd name="connsiteX4" fmla="*/ 4569610 w 4729906"/>
              <a:gd name="connsiteY4" fmla="*/ 4004850 h 4469415"/>
              <a:gd name="connsiteX0" fmla="*/ 4569610 w 4729906"/>
              <a:gd name="connsiteY0" fmla="*/ 3967889 h 4432454"/>
              <a:gd name="connsiteX1" fmla="*/ 403588 w 4729906"/>
              <a:gd name="connsiteY1" fmla="*/ 3988121 h 4432454"/>
              <a:gd name="connsiteX2" fmla="*/ 407929 w 4729906"/>
              <a:gd name="connsiteY2" fmla="*/ 94939 h 4432454"/>
              <a:gd name="connsiteX3" fmla="*/ 2715705 w 4729906"/>
              <a:gd name="connsiteY3" fmla="*/ 149280 h 4432454"/>
              <a:gd name="connsiteX4" fmla="*/ 4569610 w 4729906"/>
              <a:gd name="connsiteY4" fmla="*/ 3967889 h 4432454"/>
              <a:gd name="connsiteX0" fmla="*/ 4569610 w 4729906"/>
              <a:gd name="connsiteY0" fmla="*/ 3961147 h 4425712"/>
              <a:gd name="connsiteX1" fmla="*/ 403588 w 4729906"/>
              <a:gd name="connsiteY1" fmla="*/ 3981379 h 4425712"/>
              <a:gd name="connsiteX2" fmla="*/ 407929 w 4729906"/>
              <a:gd name="connsiteY2" fmla="*/ 88197 h 4425712"/>
              <a:gd name="connsiteX3" fmla="*/ 2715705 w 4729906"/>
              <a:gd name="connsiteY3" fmla="*/ 142538 h 4425712"/>
              <a:gd name="connsiteX4" fmla="*/ 4569610 w 4729906"/>
              <a:gd name="connsiteY4" fmla="*/ 3961147 h 4425712"/>
              <a:gd name="connsiteX0" fmla="*/ 4569610 w 4731390"/>
              <a:gd name="connsiteY0" fmla="*/ 3955154 h 4419719"/>
              <a:gd name="connsiteX1" fmla="*/ 403588 w 4731390"/>
              <a:gd name="connsiteY1" fmla="*/ 3975386 h 4419719"/>
              <a:gd name="connsiteX2" fmla="*/ 407929 w 4731390"/>
              <a:gd name="connsiteY2" fmla="*/ 82204 h 4419719"/>
              <a:gd name="connsiteX3" fmla="*/ 2735583 w 4731390"/>
              <a:gd name="connsiteY3" fmla="*/ 151454 h 4419719"/>
              <a:gd name="connsiteX4" fmla="*/ 4569610 w 4731390"/>
              <a:gd name="connsiteY4" fmla="*/ 3955154 h 4419719"/>
              <a:gd name="connsiteX0" fmla="*/ 4569610 w 4729906"/>
              <a:gd name="connsiteY0" fmla="*/ 3959089 h 4423654"/>
              <a:gd name="connsiteX1" fmla="*/ 403588 w 4729906"/>
              <a:gd name="connsiteY1" fmla="*/ 3979321 h 4423654"/>
              <a:gd name="connsiteX2" fmla="*/ 407929 w 4729906"/>
              <a:gd name="connsiteY2" fmla="*/ 86139 h 4423654"/>
              <a:gd name="connsiteX3" fmla="*/ 2715705 w 4729906"/>
              <a:gd name="connsiteY3" fmla="*/ 145450 h 4423654"/>
              <a:gd name="connsiteX4" fmla="*/ 4569610 w 4729906"/>
              <a:gd name="connsiteY4" fmla="*/ 3959089 h 4423654"/>
              <a:gd name="connsiteX0" fmla="*/ 4553655 w 4715061"/>
              <a:gd name="connsiteY0" fmla="*/ 3964058 h 4426283"/>
              <a:gd name="connsiteX1" fmla="*/ 402542 w 4715061"/>
              <a:gd name="connsiteY1" fmla="*/ 3979321 h 4426283"/>
              <a:gd name="connsiteX2" fmla="*/ 406883 w 4715061"/>
              <a:gd name="connsiteY2" fmla="*/ 86139 h 4426283"/>
              <a:gd name="connsiteX3" fmla="*/ 2714659 w 4715061"/>
              <a:gd name="connsiteY3" fmla="*/ 145450 h 4426283"/>
              <a:gd name="connsiteX4" fmla="*/ 4553655 w 4715061"/>
              <a:gd name="connsiteY4" fmla="*/ 3964058 h 4426283"/>
              <a:gd name="connsiteX0" fmla="*/ 4553655 w 4720275"/>
              <a:gd name="connsiteY0" fmla="*/ 3964058 h 4426283"/>
              <a:gd name="connsiteX1" fmla="*/ 402542 w 4720275"/>
              <a:gd name="connsiteY1" fmla="*/ 3979321 h 4426283"/>
              <a:gd name="connsiteX2" fmla="*/ 406883 w 4720275"/>
              <a:gd name="connsiteY2" fmla="*/ 86139 h 4426283"/>
              <a:gd name="connsiteX3" fmla="*/ 2714659 w 4720275"/>
              <a:gd name="connsiteY3" fmla="*/ 145450 h 4426283"/>
              <a:gd name="connsiteX4" fmla="*/ 4553655 w 4720275"/>
              <a:gd name="connsiteY4" fmla="*/ 3964058 h 4426283"/>
              <a:gd name="connsiteX0" fmla="*/ 4319549 w 4486169"/>
              <a:gd name="connsiteY0" fmla="*/ 3964058 h 4546245"/>
              <a:gd name="connsiteX1" fmla="*/ 168436 w 4486169"/>
              <a:gd name="connsiteY1" fmla="*/ 3979321 h 4546245"/>
              <a:gd name="connsiteX2" fmla="*/ 172777 w 4486169"/>
              <a:gd name="connsiteY2" fmla="*/ 86139 h 4546245"/>
              <a:gd name="connsiteX3" fmla="*/ 2480553 w 4486169"/>
              <a:gd name="connsiteY3" fmla="*/ 145450 h 4546245"/>
              <a:gd name="connsiteX4" fmla="*/ 4319549 w 4486169"/>
              <a:gd name="connsiteY4" fmla="*/ 3964058 h 4546245"/>
              <a:gd name="connsiteX0" fmla="*/ 4364562 w 4531182"/>
              <a:gd name="connsiteY0" fmla="*/ 3964058 h 4249930"/>
              <a:gd name="connsiteX1" fmla="*/ 213449 w 4531182"/>
              <a:gd name="connsiteY1" fmla="*/ 3979321 h 4249930"/>
              <a:gd name="connsiteX2" fmla="*/ 217790 w 4531182"/>
              <a:gd name="connsiteY2" fmla="*/ 86139 h 4249930"/>
              <a:gd name="connsiteX3" fmla="*/ 2525566 w 4531182"/>
              <a:gd name="connsiteY3" fmla="*/ 145450 h 4249930"/>
              <a:gd name="connsiteX4" fmla="*/ 4364562 w 4531182"/>
              <a:gd name="connsiteY4" fmla="*/ 3964058 h 4249930"/>
              <a:gd name="connsiteX0" fmla="*/ 4364562 w 4531182"/>
              <a:gd name="connsiteY0" fmla="*/ 3964058 h 4075864"/>
              <a:gd name="connsiteX1" fmla="*/ 213449 w 4531182"/>
              <a:gd name="connsiteY1" fmla="*/ 3979321 h 4075864"/>
              <a:gd name="connsiteX2" fmla="*/ 217790 w 4531182"/>
              <a:gd name="connsiteY2" fmla="*/ 86139 h 4075864"/>
              <a:gd name="connsiteX3" fmla="*/ 2525566 w 4531182"/>
              <a:gd name="connsiteY3" fmla="*/ 145450 h 4075864"/>
              <a:gd name="connsiteX4" fmla="*/ 4364562 w 4531182"/>
              <a:gd name="connsiteY4" fmla="*/ 3964058 h 4075864"/>
              <a:gd name="connsiteX0" fmla="*/ 4545978 w 4713148"/>
              <a:gd name="connsiteY0" fmla="*/ 3985573 h 4306667"/>
              <a:gd name="connsiteX1" fmla="*/ 402037 w 4713148"/>
              <a:gd name="connsiteY1" fmla="*/ 3979321 h 4306667"/>
              <a:gd name="connsiteX2" fmla="*/ 406378 w 4713148"/>
              <a:gd name="connsiteY2" fmla="*/ 86139 h 4306667"/>
              <a:gd name="connsiteX3" fmla="*/ 2714154 w 4713148"/>
              <a:gd name="connsiteY3" fmla="*/ 145450 h 4306667"/>
              <a:gd name="connsiteX4" fmla="*/ 4545978 w 4713148"/>
              <a:gd name="connsiteY4" fmla="*/ 3985573 h 4306667"/>
              <a:gd name="connsiteX0" fmla="*/ 4511441 w 4681129"/>
              <a:gd name="connsiteY0" fmla="*/ 4032190 h 4325515"/>
              <a:gd name="connsiteX1" fmla="*/ 399773 w 4681129"/>
              <a:gd name="connsiteY1" fmla="*/ 3979321 h 4325515"/>
              <a:gd name="connsiteX2" fmla="*/ 404114 w 4681129"/>
              <a:gd name="connsiteY2" fmla="*/ 86139 h 4325515"/>
              <a:gd name="connsiteX3" fmla="*/ 2711890 w 4681129"/>
              <a:gd name="connsiteY3" fmla="*/ 145450 h 4325515"/>
              <a:gd name="connsiteX4" fmla="*/ 4511441 w 4681129"/>
              <a:gd name="connsiteY4" fmla="*/ 4032190 h 4325515"/>
              <a:gd name="connsiteX0" fmla="*/ 4511441 w 4708199"/>
              <a:gd name="connsiteY0" fmla="*/ 4032190 h 4325515"/>
              <a:gd name="connsiteX1" fmla="*/ 399773 w 4708199"/>
              <a:gd name="connsiteY1" fmla="*/ 3979321 h 4325515"/>
              <a:gd name="connsiteX2" fmla="*/ 404114 w 4708199"/>
              <a:gd name="connsiteY2" fmla="*/ 86139 h 4325515"/>
              <a:gd name="connsiteX3" fmla="*/ 2711890 w 4708199"/>
              <a:gd name="connsiteY3" fmla="*/ 145450 h 4325515"/>
              <a:gd name="connsiteX4" fmla="*/ 4511441 w 4708199"/>
              <a:gd name="connsiteY4" fmla="*/ 4032190 h 4325515"/>
              <a:gd name="connsiteX0" fmla="*/ 4511441 w 4705591"/>
              <a:gd name="connsiteY0" fmla="*/ 4032190 h 4325515"/>
              <a:gd name="connsiteX1" fmla="*/ 399773 w 4705591"/>
              <a:gd name="connsiteY1" fmla="*/ 3979321 h 4325515"/>
              <a:gd name="connsiteX2" fmla="*/ 404114 w 4705591"/>
              <a:gd name="connsiteY2" fmla="*/ 86139 h 4325515"/>
              <a:gd name="connsiteX3" fmla="*/ 2711890 w 4705591"/>
              <a:gd name="connsiteY3" fmla="*/ 145450 h 4325515"/>
              <a:gd name="connsiteX4" fmla="*/ 4511441 w 4705591"/>
              <a:gd name="connsiteY4" fmla="*/ 4032190 h 4325515"/>
              <a:gd name="connsiteX0" fmla="*/ 4534465 w 4726788"/>
              <a:gd name="connsiteY0" fmla="*/ 4014261 h 4318123"/>
              <a:gd name="connsiteX1" fmla="*/ 401282 w 4726788"/>
              <a:gd name="connsiteY1" fmla="*/ 3979321 h 4318123"/>
              <a:gd name="connsiteX2" fmla="*/ 405623 w 4726788"/>
              <a:gd name="connsiteY2" fmla="*/ 86139 h 4318123"/>
              <a:gd name="connsiteX3" fmla="*/ 2713399 w 4726788"/>
              <a:gd name="connsiteY3" fmla="*/ 145450 h 4318123"/>
              <a:gd name="connsiteX4" fmla="*/ 4534465 w 4726788"/>
              <a:gd name="connsiteY4" fmla="*/ 4014261 h 4318123"/>
              <a:gd name="connsiteX0" fmla="*/ 4534465 w 4717758"/>
              <a:gd name="connsiteY0" fmla="*/ 4014261 h 4318123"/>
              <a:gd name="connsiteX1" fmla="*/ 401282 w 4717758"/>
              <a:gd name="connsiteY1" fmla="*/ 3979321 h 4318123"/>
              <a:gd name="connsiteX2" fmla="*/ 405623 w 4717758"/>
              <a:gd name="connsiteY2" fmla="*/ 86139 h 4318123"/>
              <a:gd name="connsiteX3" fmla="*/ 2713399 w 4717758"/>
              <a:gd name="connsiteY3" fmla="*/ 145450 h 4318123"/>
              <a:gd name="connsiteX4" fmla="*/ 4534465 w 4717758"/>
              <a:gd name="connsiteY4" fmla="*/ 4014261 h 4318123"/>
              <a:gd name="connsiteX0" fmla="*/ 4534465 w 4720533"/>
              <a:gd name="connsiteY0" fmla="*/ 4014261 h 4318123"/>
              <a:gd name="connsiteX1" fmla="*/ 401282 w 4720533"/>
              <a:gd name="connsiteY1" fmla="*/ 3979321 h 4318123"/>
              <a:gd name="connsiteX2" fmla="*/ 405623 w 4720533"/>
              <a:gd name="connsiteY2" fmla="*/ 86139 h 4318123"/>
              <a:gd name="connsiteX3" fmla="*/ 2713399 w 4720533"/>
              <a:gd name="connsiteY3" fmla="*/ 145450 h 4318123"/>
              <a:gd name="connsiteX4" fmla="*/ 4534465 w 4720533"/>
              <a:gd name="connsiteY4" fmla="*/ 4014261 h 4318123"/>
              <a:gd name="connsiteX0" fmla="*/ 4302515 w 4488583"/>
              <a:gd name="connsiteY0" fmla="*/ 4014261 h 4086368"/>
              <a:gd name="connsiteX1" fmla="*/ 169332 w 4488583"/>
              <a:gd name="connsiteY1" fmla="*/ 3979321 h 4086368"/>
              <a:gd name="connsiteX2" fmla="*/ 173673 w 4488583"/>
              <a:gd name="connsiteY2" fmla="*/ 86139 h 4086368"/>
              <a:gd name="connsiteX3" fmla="*/ 2481449 w 4488583"/>
              <a:gd name="connsiteY3" fmla="*/ 145450 h 4086368"/>
              <a:gd name="connsiteX4" fmla="*/ 4302515 w 4488583"/>
              <a:gd name="connsiteY4" fmla="*/ 4014261 h 4086368"/>
              <a:gd name="connsiteX0" fmla="*/ 4302515 w 4488583"/>
              <a:gd name="connsiteY0" fmla="*/ 4014261 h 4086369"/>
              <a:gd name="connsiteX1" fmla="*/ 169332 w 4488583"/>
              <a:gd name="connsiteY1" fmla="*/ 3979321 h 4086369"/>
              <a:gd name="connsiteX2" fmla="*/ 173673 w 4488583"/>
              <a:gd name="connsiteY2" fmla="*/ 86139 h 4086369"/>
              <a:gd name="connsiteX3" fmla="*/ 2481449 w 4488583"/>
              <a:gd name="connsiteY3" fmla="*/ 145450 h 4086369"/>
              <a:gd name="connsiteX4" fmla="*/ 4302515 w 4488583"/>
              <a:gd name="connsiteY4" fmla="*/ 4014261 h 4086369"/>
              <a:gd name="connsiteX0" fmla="*/ 4159964 w 4346032"/>
              <a:gd name="connsiteY0" fmla="*/ 4014261 h 4086369"/>
              <a:gd name="connsiteX1" fmla="*/ 26781 w 4346032"/>
              <a:gd name="connsiteY1" fmla="*/ 3979321 h 4086369"/>
              <a:gd name="connsiteX2" fmla="*/ 31122 w 4346032"/>
              <a:gd name="connsiteY2" fmla="*/ 86139 h 4086369"/>
              <a:gd name="connsiteX3" fmla="*/ 2338898 w 4346032"/>
              <a:gd name="connsiteY3" fmla="*/ 145450 h 4086369"/>
              <a:gd name="connsiteX4" fmla="*/ 4159964 w 4346032"/>
              <a:gd name="connsiteY4" fmla="*/ 4014261 h 4086369"/>
              <a:gd name="connsiteX0" fmla="*/ 4155332 w 4341400"/>
              <a:gd name="connsiteY0" fmla="*/ 4014261 h 4086369"/>
              <a:gd name="connsiteX1" fmla="*/ 22149 w 4341400"/>
              <a:gd name="connsiteY1" fmla="*/ 3979321 h 4086369"/>
              <a:gd name="connsiteX2" fmla="*/ 26490 w 4341400"/>
              <a:gd name="connsiteY2" fmla="*/ 86139 h 4086369"/>
              <a:gd name="connsiteX3" fmla="*/ 2334266 w 4341400"/>
              <a:gd name="connsiteY3" fmla="*/ 145450 h 4086369"/>
              <a:gd name="connsiteX4" fmla="*/ 4155332 w 4341400"/>
              <a:gd name="connsiteY4" fmla="*/ 4014261 h 4086369"/>
              <a:gd name="connsiteX0" fmla="*/ 4136230 w 4322298"/>
              <a:gd name="connsiteY0" fmla="*/ 4014261 h 4086388"/>
              <a:gd name="connsiteX1" fmla="*/ 3047 w 4322298"/>
              <a:gd name="connsiteY1" fmla="*/ 3979321 h 4086388"/>
              <a:gd name="connsiteX2" fmla="*/ 7388 w 4322298"/>
              <a:gd name="connsiteY2" fmla="*/ 86139 h 4086388"/>
              <a:gd name="connsiteX3" fmla="*/ 2315164 w 4322298"/>
              <a:gd name="connsiteY3" fmla="*/ 145450 h 4086388"/>
              <a:gd name="connsiteX4" fmla="*/ 4136230 w 4322298"/>
              <a:gd name="connsiteY4" fmla="*/ 4014261 h 4086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2298" h="4086388">
                <a:moveTo>
                  <a:pt x="4136230" y="4014261"/>
                </a:moveTo>
                <a:cubicBezTo>
                  <a:pt x="3849913" y="4165062"/>
                  <a:pt x="3290" y="4042420"/>
                  <a:pt x="3047" y="3979321"/>
                </a:cubicBezTo>
                <a:cubicBezTo>
                  <a:pt x="-2633" y="2503630"/>
                  <a:pt x="93" y="1309077"/>
                  <a:pt x="7388" y="86139"/>
                </a:cubicBezTo>
                <a:cubicBezTo>
                  <a:pt x="941005" y="-44093"/>
                  <a:pt x="1569045" y="-28484"/>
                  <a:pt x="2315164" y="145450"/>
                </a:cubicBezTo>
                <a:cubicBezTo>
                  <a:pt x="3296094" y="412823"/>
                  <a:pt x="4862309" y="1541229"/>
                  <a:pt x="4136230" y="4014261"/>
                </a:cubicBezTo>
                <a:close/>
              </a:path>
            </a:pathLst>
          </a:custGeom>
        </p:spPr>
      </p:pic>
      <p:pic>
        <p:nvPicPr>
          <p:cNvPr id="42" name="Picture 41">
            <a:extLst>
              <a:ext uri="{FF2B5EF4-FFF2-40B4-BE49-F238E27FC236}">
                <a16:creationId xmlns:a16="http://schemas.microsoft.com/office/drawing/2014/main" id="{BF2A289C-C83F-CBC3-DCAB-03F18F9739B7}"/>
              </a:ext>
            </a:extLst>
          </p:cNvPr>
          <p:cNvPicPr>
            <a:picLocks noChangeAspect="1"/>
          </p:cNvPicPr>
          <p:nvPr/>
        </p:nvPicPr>
        <p:blipFill>
          <a:blip r:embed="rId4"/>
          <a:stretch>
            <a:fillRect/>
          </a:stretch>
        </p:blipFill>
        <p:spPr>
          <a:xfrm>
            <a:off x="3604315" y="2229579"/>
            <a:ext cx="1371600" cy="1930400"/>
          </a:xfrm>
          <a:prstGeom prst="rect">
            <a:avLst/>
          </a:prstGeom>
        </p:spPr>
      </p:pic>
      <p:grpSp>
        <p:nvGrpSpPr>
          <p:cNvPr id="48" name="Group 47">
            <a:extLst>
              <a:ext uri="{FF2B5EF4-FFF2-40B4-BE49-F238E27FC236}">
                <a16:creationId xmlns:a16="http://schemas.microsoft.com/office/drawing/2014/main" id="{3C15F824-A938-2C29-54D6-318B2E05B01A}"/>
              </a:ext>
            </a:extLst>
          </p:cNvPr>
          <p:cNvGrpSpPr/>
          <p:nvPr/>
        </p:nvGrpSpPr>
        <p:grpSpPr>
          <a:xfrm>
            <a:off x="5394492" y="3429000"/>
            <a:ext cx="6152942" cy="3005761"/>
            <a:chOff x="5574455" y="5076541"/>
            <a:chExt cx="6152942" cy="3005761"/>
          </a:xfrm>
        </p:grpSpPr>
        <p:sp>
          <p:nvSpPr>
            <p:cNvPr id="45" name="Rounded Rectangle 44">
              <a:extLst>
                <a:ext uri="{FF2B5EF4-FFF2-40B4-BE49-F238E27FC236}">
                  <a16:creationId xmlns:a16="http://schemas.microsoft.com/office/drawing/2014/main" id="{E4A7DAAA-E562-FCE1-A24F-C4464B233FAD}"/>
                </a:ext>
              </a:extLst>
            </p:cNvPr>
            <p:cNvSpPr/>
            <p:nvPr/>
          </p:nvSpPr>
          <p:spPr>
            <a:xfrm>
              <a:off x="5609559" y="5076541"/>
              <a:ext cx="5541041" cy="1060174"/>
            </a:xfrm>
            <a:prstGeom prst="roundRect">
              <a:avLst/>
            </a:prstGeom>
            <a:solidFill>
              <a:srgbClr val="BE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sp>
          <p:nvSpPr>
            <p:cNvPr id="38" name="TextBox 37">
              <a:extLst>
                <a:ext uri="{FF2B5EF4-FFF2-40B4-BE49-F238E27FC236}">
                  <a16:creationId xmlns:a16="http://schemas.microsoft.com/office/drawing/2014/main" id="{6C073FED-83CC-C5AA-8D46-24066CBE16A9}"/>
                </a:ext>
              </a:extLst>
            </p:cNvPr>
            <p:cNvSpPr txBox="1"/>
            <p:nvPr/>
          </p:nvSpPr>
          <p:spPr>
            <a:xfrm>
              <a:off x="6861800" y="5283462"/>
              <a:ext cx="4410697" cy="646331"/>
            </a:xfrm>
            <a:prstGeom prst="rect">
              <a:avLst/>
            </a:prstGeom>
            <a:noFill/>
          </p:spPr>
          <p:txBody>
            <a:bodyPr wrap="square" rtlCol="0">
              <a:spAutoFit/>
            </a:bodyPr>
            <a:lstStyle/>
            <a:p>
              <a:r>
                <a:rPr lang="en-US" b="1" dirty="0"/>
                <a:t>Members can learn more at </a:t>
              </a:r>
              <a:r>
                <a:rPr lang="en-US" dirty="0"/>
                <a:t>www1.deltadentalins.com/memberperks</a:t>
              </a:r>
            </a:p>
          </p:txBody>
        </p:sp>
        <p:grpSp>
          <p:nvGrpSpPr>
            <p:cNvPr id="47" name="Group 46">
              <a:extLst>
                <a:ext uri="{FF2B5EF4-FFF2-40B4-BE49-F238E27FC236}">
                  <a16:creationId xmlns:a16="http://schemas.microsoft.com/office/drawing/2014/main" id="{FC649D22-47A0-9DA0-1EC7-43F28FC6515E}"/>
                </a:ext>
              </a:extLst>
            </p:cNvPr>
            <p:cNvGrpSpPr/>
            <p:nvPr/>
          </p:nvGrpSpPr>
          <p:grpSpPr>
            <a:xfrm>
              <a:off x="5714919" y="5160416"/>
              <a:ext cx="892421" cy="892421"/>
              <a:chOff x="10401549" y="5160416"/>
              <a:chExt cx="892421" cy="892421"/>
            </a:xfrm>
          </p:grpSpPr>
          <p:sp>
            <p:nvSpPr>
              <p:cNvPr id="46" name="Rounded Rectangle 45">
                <a:extLst>
                  <a:ext uri="{FF2B5EF4-FFF2-40B4-BE49-F238E27FC236}">
                    <a16:creationId xmlns:a16="http://schemas.microsoft.com/office/drawing/2014/main" id="{F763EB62-9A2C-110B-4C25-764AE91951BF}"/>
                  </a:ext>
                </a:extLst>
              </p:cNvPr>
              <p:cNvSpPr/>
              <p:nvPr/>
            </p:nvSpPr>
            <p:spPr>
              <a:xfrm>
                <a:off x="10401549" y="5160416"/>
                <a:ext cx="892421" cy="89242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X"/>
              </a:p>
            </p:txBody>
          </p:sp>
          <p:pic>
            <p:nvPicPr>
              <p:cNvPr id="44" name="Picture 43" descr="Qr code&#10;&#10;Description automatically generated">
                <a:extLst>
                  <a:ext uri="{FF2B5EF4-FFF2-40B4-BE49-F238E27FC236}">
                    <a16:creationId xmlns:a16="http://schemas.microsoft.com/office/drawing/2014/main" id="{7677DB89-FA33-9084-3B7A-795B272250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48400" y="5216406"/>
                <a:ext cx="798720" cy="798720"/>
              </a:xfrm>
              <a:prstGeom prst="rect">
                <a:avLst/>
              </a:prstGeom>
            </p:spPr>
          </p:pic>
        </p:grpSp>
        <p:sp>
          <p:nvSpPr>
            <p:cNvPr id="2" name="TextBox 1">
              <a:extLst>
                <a:ext uri="{FF2B5EF4-FFF2-40B4-BE49-F238E27FC236}">
                  <a16:creationId xmlns:a16="http://schemas.microsoft.com/office/drawing/2014/main" id="{5493C5DD-CE50-91EB-FAF1-377C28642ABE}"/>
                </a:ext>
              </a:extLst>
            </p:cNvPr>
            <p:cNvSpPr txBox="1"/>
            <p:nvPr/>
          </p:nvSpPr>
          <p:spPr>
            <a:xfrm>
              <a:off x="5574455" y="6374142"/>
              <a:ext cx="6152942" cy="1708160"/>
            </a:xfrm>
            <a:prstGeom prst="rect">
              <a:avLst/>
            </a:prstGeom>
            <a:noFill/>
          </p:spPr>
          <p:txBody>
            <a:bodyPr wrap="square" lIns="91440" tIns="45720" rIns="91440" bIns="45720" rtlCol="0" anchor="t">
              <a:spAutoFit/>
            </a:bodyPr>
            <a:lstStyle/>
            <a:p>
              <a:r>
                <a:rPr lang="en-US" sz="900" baseline="30000"/>
                <a:t>1</a:t>
              </a:r>
              <a:r>
                <a:rPr lang="en-US" sz="900" dirty="0"/>
                <a:t> Lane Health is a financial technology company, not a bank. The Healthcare Spending Card is issued by Lead Bank pursuant to a license from Visa USA Inc</a:t>
              </a:r>
            </a:p>
            <a:p>
              <a:endParaRPr lang="en-US" sz="900" baseline="30000" dirty="0"/>
            </a:p>
            <a:p>
              <a:r>
                <a:rPr lang="en-US" sz="900" baseline="30000"/>
                <a:t>2</a:t>
              </a:r>
              <a:r>
                <a:rPr lang="en-US" sz="900" dirty="0"/>
                <a:t> Lane</a:t>
              </a:r>
              <a:r>
                <a:rPr lang="en-US" sz="900" b="0" i="0" dirty="0">
                  <a:effectLst/>
                </a:rPr>
                <a:t> Health does not charge interest on, or an annual fee for, the Healthcare Spending Card. Each Advance can be repaid in full,4-month term or 12-month term (with a minimum $3 due each payment period). Transactions other than qualified hospital or dental expenses (based on merchant category code) will be charged an origination fee of 5% and periodic finance fees. The location of the service provider is not determinative of whether a transaction is a qualified hospital expense. Rather, transactions made within or at a hospital (including but not limited to specialists, doctors, pharmacies, etcetera) are determined to be eligible by the associated MCC and not the location of the service provider in the hospital. New Advances, if eligible, can be repaid in full or over 4 installments with no origination or periodic finance fees. Late fees apply. You can review the fee table at </a:t>
              </a:r>
              <a:r>
                <a:rPr lang="en-US" sz="900" b="1" i="0" u="sng" dirty="0">
                  <a:solidFill>
                    <a:schemeClr val="accent1"/>
                  </a:solidFill>
                  <a:effectLst/>
                  <a:hlinkClick r:id="rId6">
                    <a:extLst>
                      <a:ext uri="{A12FA001-AC4F-418D-AE19-62706E023703}">
                        <ahyp:hlinkClr xmlns:ahyp="http://schemas.microsoft.com/office/drawing/2018/hyperlinkcolor" val="tx"/>
                      </a:ext>
                    </a:extLst>
                  </a:hlinkClick>
                </a:rPr>
                <a:t>https://lanehealth.com/hsc-lb-dd-feesdeltadentalins.com</a:t>
              </a:r>
              <a:r>
                <a:rPr lang="en-US" sz="900" b="0" i="0" dirty="0">
                  <a:effectLst/>
                </a:rPr>
                <a:t>. Subject to credit line approval. </a:t>
              </a:r>
              <a:endParaRPr lang="en-US" sz="900" b="0" i="0" dirty="0">
                <a:effectLst/>
                <a:ea typeface="Calibri"/>
                <a:cs typeface="Calibri"/>
              </a:endParaRPr>
            </a:p>
            <a:p>
              <a:r>
                <a:rPr lang="en-US" sz="900" b="0" i="0" dirty="0">
                  <a:effectLst/>
                </a:rPr>
                <a:t>Opportunity may be subject to change without notice.</a:t>
              </a:r>
            </a:p>
          </p:txBody>
        </p:sp>
      </p:grpSp>
      <p:sp>
        <p:nvSpPr>
          <p:cNvPr id="27" name="Text Placeholder 12">
            <a:extLst>
              <a:ext uri="{FF2B5EF4-FFF2-40B4-BE49-F238E27FC236}">
                <a16:creationId xmlns:a16="http://schemas.microsoft.com/office/drawing/2014/main" id="{390B7972-42EC-D3B8-D1B0-0C7E4E26CB0A}"/>
              </a:ext>
            </a:extLst>
          </p:cNvPr>
          <p:cNvSpPr txBox="1">
            <a:spLocks/>
          </p:cNvSpPr>
          <p:nvPr/>
        </p:nvSpPr>
        <p:spPr>
          <a:xfrm>
            <a:off x="5320610" y="767162"/>
            <a:ext cx="2213534" cy="2743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000" kern="1200">
                <a:solidFill>
                  <a:srgbClr val="2DB03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spcBef>
                <a:spcPts val="0"/>
              </a:spcBef>
              <a:spcAft>
                <a:spcPts val="400"/>
              </a:spcAft>
            </a:pPr>
            <a:r>
              <a:rPr lang="en-US" sz="1500" dirty="0"/>
              <a:t>Virtual dentistry</a:t>
            </a:r>
          </a:p>
          <a:p>
            <a:pPr marL="0">
              <a:spcBef>
                <a:spcPts val="0"/>
              </a:spcBef>
            </a:pPr>
            <a:r>
              <a:rPr lang="en-US" sz="1500" dirty="0">
                <a:solidFill>
                  <a:schemeClr val="tx1"/>
                </a:solidFill>
              </a:rPr>
              <a:t>Remote consultations with a dentist</a:t>
            </a:r>
          </a:p>
          <a:p>
            <a:pPr marL="0">
              <a:spcBef>
                <a:spcPts val="0"/>
              </a:spcBef>
            </a:pPr>
            <a:endParaRPr lang="en-US" sz="1500" dirty="0">
              <a:solidFill>
                <a:schemeClr val="tx1"/>
              </a:solidFill>
            </a:endParaRPr>
          </a:p>
          <a:p>
            <a:pPr marL="0">
              <a:spcBef>
                <a:spcPts val="0"/>
              </a:spcBef>
              <a:spcAft>
                <a:spcPts val="400"/>
              </a:spcAft>
            </a:pPr>
            <a:r>
              <a:rPr lang="en-US" sz="1500" dirty="0"/>
              <a:t>Healthcare Spending Card</a:t>
            </a:r>
            <a:endParaRPr lang="en-US" sz="1500" baseline="30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effectLst/>
                <a:latin typeface="ProximaNova-Regular"/>
              </a:rPr>
              <a:t>No annual fee card through Lane Health</a:t>
            </a:r>
            <a:r>
              <a:rPr lang="en-US" sz="1400" b="0" i="0" baseline="30000" dirty="0">
                <a:solidFill>
                  <a:schemeClr val="tx1"/>
                </a:solidFill>
                <a:effectLst/>
                <a:latin typeface="ProximaNova-Regular"/>
              </a:rPr>
              <a:t>1</a:t>
            </a:r>
            <a:r>
              <a:rPr lang="en-US" sz="1400" b="0" i="0" dirty="0">
                <a:solidFill>
                  <a:schemeClr val="tx1"/>
                </a:solidFill>
                <a:effectLst/>
                <a:latin typeface="ProximaNova-Regular"/>
              </a:rPr>
              <a:t> provides exclusive access to 12-month, 0% financing for dental expenses and more</a:t>
            </a:r>
            <a:r>
              <a:rPr lang="en-US" sz="1400" b="0" i="0" baseline="30000" dirty="0">
                <a:solidFill>
                  <a:schemeClr val="tx1"/>
                </a:solidFill>
                <a:effectLst/>
                <a:latin typeface="ProximaNova-Regular"/>
              </a:rPr>
              <a:t>2</a:t>
            </a:r>
            <a:endParaRPr lang="en-US" sz="1600" baseline="30000" dirty="0">
              <a:solidFill>
                <a:schemeClr val="tx1"/>
              </a:solidFill>
            </a:endParaRPr>
          </a:p>
        </p:txBody>
      </p:sp>
    </p:spTree>
    <p:extLst>
      <p:ext uri="{BB962C8B-B14F-4D97-AF65-F5344CB8AC3E}">
        <p14:creationId xmlns:p14="http://schemas.microsoft.com/office/powerpoint/2010/main" val="680962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heme/theme1.xml><?xml version="1.0" encoding="utf-8"?>
<a:theme xmlns:a="http://schemas.openxmlformats.org/drawingml/2006/main" name="Inside">
  <a:themeElements>
    <a:clrScheme name="Delta Dental Palette">
      <a:dk1>
        <a:srgbClr val="000000"/>
      </a:dk1>
      <a:lt1>
        <a:srgbClr val="FFFFFF"/>
      </a:lt1>
      <a:dk2>
        <a:srgbClr val="000000"/>
      </a:dk2>
      <a:lt2>
        <a:srgbClr val="F8F8F8"/>
      </a:lt2>
      <a:accent1>
        <a:srgbClr val="41A928"/>
      </a:accent1>
      <a:accent2>
        <a:srgbClr val="61C368"/>
      </a:accent2>
      <a:accent3>
        <a:srgbClr val="81D086"/>
      </a:accent3>
      <a:accent4>
        <a:srgbClr val="41A928"/>
      </a:accent4>
      <a:accent5>
        <a:srgbClr val="61C368"/>
      </a:accent5>
      <a:accent6>
        <a:srgbClr val="81D086"/>
      </a:accent6>
      <a:hlink>
        <a:srgbClr val="41A928"/>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9cb5f1b-7801-4634-988a-da9dc50d4d46" xsi:nil="true"/>
    <lcf76f155ced4ddcb4097134ff3c332f xmlns="c74a1346-b54f-4c74-ab00-f4bf0b9943d8">
      <Terms xmlns="http://schemas.microsoft.com/office/infopath/2007/PartnerControls"/>
    </lcf76f155ced4ddcb4097134ff3c332f>
    <Comments xmlns="c74a1346-b54f-4c74-ab00-f4bf0b9943d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45EC0E6C4A4A4B8587E74A68E65361" ma:contentTypeVersion="15" ma:contentTypeDescription="Create a new document." ma:contentTypeScope="" ma:versionID="c9b1dab26fd64dd54090fb9d50499fe8">
  <xsd:schema xmlns:xsd="http://www.w3.org/2001/XMLSchema" xmlns:xs="http://www.w3.org/2001/XMLSchema" xmlns:p="http://schemas.microsoft.com/office/2006/metadata/properties" xmlns:ns2="c74a1346-b54f-4c74-ab00-f4bf0b9943d8" xmlns:ns3="19cb5f1b-7801-4634-988a-da9dc50d4d46" targetNamespace="http://schemas.microsoft.com/office/2006/metadata/properties" ma:root="true" ma:fieldsID="1f68417f8318403c128402f7803454c3" ns2:_="" ns3:_="">
    <xsd:import namespace="c74a1346-b54f-4c74-ab00-f4bf0b9943d8"/>
    <xsd:import namespace="19cb5f1b-7801-4634-988a-da9dc50d4d4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Comment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4a1346-b54f-4c74-ab00-f4bf0b9943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Comments" ma:index="12" nillable="true" ma:displayName="Comments" ma:format="Dropdown" ma:internalName="Comments">
      <xsd:simpleType>
        <xsd:restriction base="dms:Text">
          <xsd:maxLength value="255"/>
        </xsd:restrictio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description="" ma:indexed="true"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9cb5f1b-7801-4634-988a-da9dc50d4d4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34f561b4-f053-42bc-bad8-ca49e56a6199}" ma:internalName="TaxCatchAll" ma:showField="CatchAllData" ma:web="19cb5f1b-7801-4634-988a-da9dc50d4d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E16239-6EC3-406F-BF92-1A8B15FB19C5}">
  <ds:schemaRefs>
    <ds:schemaRef ds:uri="http://schemas.microsoft.com/sharepoint/v3/contenttype/forms"/>
  </ds:schemaRefs>
</ds:datastoreItem>
</file>

<file path=customXml/itemProps2.xml><?xml version="1.0" encoding="utf-8"?>
<ds:datastoreItem xmlns:ds="http://schemas.openxmlformats.org/officeDocument/2006/customXml" ds:itemID="{6550AB94-19B8-4EF4-8A1C-FBEC49599259}">
  <ds:schemaRefs>
    <ds:schemaRef ds:uri="4e7eb73a-d263-46e0-99dc-379dc1794678"/>
    <ds:schemaRef ds:uri="6575a1aa-48f1-4aac-9e0a-44b42e6ca0cd"/>
    <ds:schemaRef ds:uri="76e6b5d0-f6b6-43dd-9bd8-d35823bb3ab3"/>
    <ds:schemaRef ds:uri="dd716846-4fc1-4a87-b914-84d42916c258"/>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2CA9B4E-9ADA-42AD-A355-806B680C7A6B}"/>
</file>

<file path=docProps/app.xml><?xml version="1.0" encoding="utf-8"?>
<Properties xmlns="http://schemas.openxmlformats.org/officeDocument/2006/extended-properties" xmlns:vt="http://schemas.openxmlformats.org/officeDocument/2006/docPropsVTypes">
  <TotalTime>398</TotalTime>
  <Words>309</Words>
  <Application>Microsoft Office PowerPoint</Application>
  <PresentationFormat>Widescreen</PresentationFormat>
  <Paragraphs>22</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side</vt:lpstr>
      <vt:lpstr>Member pe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lness program</dc:title>
  <dc:creator>Thomas Cavazos</dc:creator>
  <cp:lastModifiedBy>Kira Llagas</cp:lastModifiedBy>
  <cp:revision>34</cp:revision>
  <dcterms:created xsi:type="dcterms:W3CDTF">2023-01-13T23:08:46Z</dcterms:created>
  <dcterms:modified xsi:type="dcterms:W3CDTF">2025-09-02T20:0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45EC0E6C4A4A4B8587E74A68E65361</vt:lpwstr>
  </property>
  <property fmtid="{D5CDD505-2E9C-101B-9397-08002B2CF9AE}" pid="3" name="MediaServiceImageTags">
    <vt:lpwstr/>
  </property>
</Properties>
</file>